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60A8B-BBAC-27F6-0A5E-CE0CAE687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57306F-6409-A659-5AEE-9E4CAAF38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57306F-6409-A659-5AEE-9E4CAAF38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96C82E-E349-50AA-0F1C-E1A784956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E3ECC-EB36-1525-C400-B7F8086C9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4EEBCE3-B889-6708-AF58-A5836FE1F323}"/>
              </a:ext>
            </a:extLst>
          </p:cNvPr>
          <p:cNvGrpSpPr/>
          <p:nvPr/>
        </p:nvGrpSpPr>
        <p:grpSpPr>
          <a:xfrm>
            <a:off x="4351023" y="2049958"/>
            <a:ext cx="3443890" cy="3442292"/>
            <a:chOff x="4374055" y="2438400"/>
            <a:chExt cx="3443890" cy="3442292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5518681-5A8F-6D20-7974-403CEBFBD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2452790"/>
              <a:ext cx="1829067" cy="709883"/>
            </a:xfrm>
            <a:custGeom>
              <a:avLst/>
              <a:gdLst>
                <a:gd name="T0" fmla="*/ 820 w 1308"/>
                <a:gd name="T1" fmla="*/ 419 h 507"/>
                <a:gd name="T2" fmla="*/ 1046 w 1308"/>
                <a:gd name="T3" fmla="*/ 507 h 507"/>
                <a:gd name="T4" fmla="*/ 1055 w 1308"/>
                <a:gd name="T5" fmla="*/ 507 h 507"/>
                <a:gd name="T6" fmla="*/ 1067 w 1308"/>
                <a:gd name="T7" fmla="*/ 507 h 507"/>
                <a:gd name="T8" fmla="*/ 1074 w 1308"/>
                <a:gd name="T9" fmla="*/ 507 h 507"/>
                <a:gd name="T10" fmla="*/ 1086 w 1308"/>
                <a:gd name="T11" fmla="*/ 506 h 507"/>
                <a:gd name="T12" fmla="*/ 1093 w 1308"/>
                <a:gd name="T13" fmla="*/ 505 h 507"/>
                <a:gd name="T14" fmla="*/ 1105 w 1308"/>
                <a:gd name="T15" fmla="*/ 503 h 507"/>
                <a:gd name="T16" fmla="*/ 1111 w 1308"/>
                <a:gd name="T17" fmla="*/ 501 h 507"/>
                <a:gd name="T18" fmla="*/ 1123 w 1308"/>
                <a:gd name="T19" fmla="*/ 498 h 507"/>
                <a:gd name="T20" fmla="*/ 1135 w 1308"/>
                <a:gd name="T21" fmla="*/ 495 h 507"/>
                <a:gd name="T22" fmla="*/ 1303 w 1308"/>
                <a:gd name="T23" fmla="*/ 306 h 507"/>
                <a:gd name="T24" fmla="*/ 1304 w 1308"/>
                <a:gd name="T25" fmla="*/ 300 h 507"/>
                <a:gd name="T26" fmla="*/ 1307 w 1308"/>
                <a:gd name="T27" fmla="*/ 280 h 507"/>
                <a:gd name="T28" fmla="*/ 1308 w 1308"/>
                <a:gd name="T29" fmla="*/ 274 h 507"/>
                <a:gd name="T30" fmla="*/ 1308 w 1308"/>
                <a:gd name="T31" fmla="*/ 254 h 507"/>
                <a:gd name="T32" fmla="*/ 1308 w 1308"/>
                <a:gd name="T33" fmla="*/ 247 h 507"/>
                <a:gd name="T34" fmla="*/ 1307 w 1308"/>
                <a:gd name="T35" fmla="*/ 227 h 507"/>
                <a:gd name="T36" fmla="*/ 1305 w 1308"/>
                <a:gd name="T37" fmla="*/ 214 h 507"/>
                <a:gd name="T38" fmla="*/ 1303 w 1308"/>
                <a:gd name="T39" fmla="*/ 201 h 507"/>
                <a:gd name="T40" fmla="*/ 1299 w 1308"/>
                <a:gd name="T41" fmla="*/ 183 h 507"/>
                <a:gd name="T42" fmla="*/ 1123 w 1308"/>
                <a:gd name="T43" fmla="*/ 9 h 507"/>
                <a:gd name="T44" fmla="*/ 1117 w 1308"/>
                <a:gd name="T45" fmla="*/ 7 h 507"/>
                <a:gd name="T46" fmla="*/ 1105 w 1308"/>
                <a:gd name="T47" fmla="*/ 5 h 507"/>
                <a:gd name="T48" fmla="*/ 1099 w 1308"/>
                <a:gd name="T49" fmla="*/ 4 h 507"/>
                <a:gd name="T50" fmla="*/ 1086 w 1308"/>
                <a:gd name="T51" fmla="*/ 2 h 507"/>
                <a:gd name="T52" fmla="*/ 1080 w 1308"/>
                <a:gd name="T53" fmla="*/ 1 h 507"/>
                <a:gd name="T54" fmla="*/ 1067 w 1308"/>
                <a:gd name="T55" fmla="*/ 0 h 507"/>
                <a:gd name="T56" fmla="*/ 1061 w 1308"/>
                <a:gd name="T57" fmla="*/ 0 h 507"/>
                <a:gd name="T58" fmla="*/ 1053 w 1308"/>
                <a:gd name="T59" fmla="*/ 0 h 507"/>
                <a:gd name="T60" fmla="*/ 1047 w 1308"/>
                <a:gd name="T61" fmla="*/ 0 h 507"/>
                <a:gd name="T62" fmla="*/ 489 w 1308"/>
                <a:gd name="T63" fmla="*/ 89 h 507"/>
                <a:gd name="T64" fmla="*/ 262 w 1308"/>
                <a:gd name="T65" fmla="*/ 0 h 507"/>
                <a:gd name="T66" fmla="*/ 254 w 1308"/>
                <a:gd name="T67" fmla="*/ 0 h 507"/>
                <a:gd name="T68" fmla="*/ 241 w 1308"/>
                <a:gd name="T69" fmla="*/ 0 h 507"/>
                <a:gd name="T70" fmla="*/ 234 w 1308"/>
                <a:gd name="T71" fmla="*/ 1 h 507"/>
                <a:gd name="T72" fmla="*/ 222 w 1308"/>
                <a:gd name="T73" fmla="*/ 2 h 507"/>
                <a:gd name="T74" fmla="*/ 215 w 1308"/>
                <a:gd name="T75" fmla="*/ 3 h 507"/>
                <a:gd name="T76" fmla="*/ 203 w 1308"/>
                <a:gd name="T77" fmla="*/ 5 h 507"/>
                <a:gd name="T78" fmla="*/ 197 w 1308"/>
                <a:gd name="T79" fmla="*/ 6 h 507"/>
                <a:gd name="T80" fmla="*/ 185 w 1308"/>
                <a:gd name="T81" fmla="*/ 9 h 507"/>
                <a:gd name="T82" fmla="*/ 173 w 1308"/>
                <a:gd name="T83" fmla="*/ 13 h 507"/>
                <a:gd name="T84" fmla="*/ 5 w 1308"/>
                <a:gd name="T85" fmla="*/ 201 h 507"/>
                <a:gd name="T86" fmla="*/ 4 w 1308"/>
                <a:gd name="T87" fmla="*/ 208 h 507"/>
                <a:gd name="T88" fmla="*/ 1 w 1308"/>
                <a:gd name="T89" fmla="*/ 227 h 507"/>
                <a:gd name="T90" fmla="*/ 0 w 1308"/>
                <a:gd name="T91" fmla="*/ 234 h 507"/>
                <a:gd name="T92" fmla="*/ 0 w 1308"/>
                <a:gd name="T93" fmla="*/ 254 h 507"/>
                <a:gd name="T94" fmla="*/ 0 w 1308"/>
                <a:gd name="T95" fmla="*/ 260 h 507"/>
                <a:gd name="T96" fmla="*/ 1 w 1308"/>
                <a:gd name="T97" fmla="*/ 280 h 507"/>
                <a:gd name="T98" fmla="*/ 3 w 1308"/>
                <a:gd name="T99" fmla="*/ 293 h 507"/>
                <a:gd name="T100" fmla="*/ 5 w 1308"/>
                <a:gd name="T101" fmla="*/ 306 h 507"/>
                <a:gd name="T102" fmla="*/ 9 w 1308"/>
                <a:gd name="T103" fmla="*/ 324 h 507"/>
                <a:gd name="T104" fmla="*/ 185 w 1308"/>
                <a:gd name="T105" fmla="*/ 498 h 507"/>
                <a:gd name="T106" fmla="*/ 191 w 1308"/>
                <a:gd name="T107" fmla="*/ 500 h 507"/>
                <a:gd name="T108" fmla="*/ 203 w 1308"/>
                <a:gd name="T109" fmla="*/ 503 h 507"/>
                <a:gd name="T110" fmla="*/ 209 w 1308"/>
                <a:gd name="T111" fmla="*/ 504 h 507"/>
                <a:gd name="T112" fmla="*/ 222 w 1308"/>
                <a:gd name="T113" fmla="*/ 506 h 507"/>
                <a:gd name="T114" fmla="*/ 228 w 1308"/>
                <a:gd name="T115" fmla="*/ 506 h 507"/>
                <a:gd name="T116" fmla="*/ 241 w 1308"/>
                <a:gd name="T117" fmla="*/ 507 h 507"/>
                <a:gd name="T118" fmla="*/ 247 w 1308"/>
                <a:gd name="T119" fmla="*/ 507 h 507"/>
                <a:gd name="T120" fmla="*/ 254 w 1308"/>
                <a:gd name="T121" fmla="*/ 507 h 507"/>
                <a:gd name="T122" fmla="*/ 268 w 1308"/>
                <a:gd name="T123" fmla="*/ 50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7">
                  <a:moveTo>
                    <a:pt x="489" y="418"/>
                  </a:moveTo>
                  <a:cubicBezTo>
                    <a:pt x="533" y="400"/>
                    <a:pt x="584" y="387"/>
                    <a:pt x="652" y="386"/>
                  </a:cubicBezTo>
                  <a:cubicBezTo>
                    <a:pt x="722" y="386"/>
                    <a:pt x="775" y="400"/>
                    <a:pt x="820" y="419"/>
                  </a:cubicBezTo>
                  <a:cubicBezTo>
                    <a:pt x="896" y="454"/>
                    <a:pt x="950" y="502"/>
                    <a:pt x="1039" y="507"/>
                  </a:cubicBezTo>
                  <a:cubicBezTo>
                    <a:pt x="1041" y="507"/>
                    <a:pt x="1043" y="507"/>
                    <a:pt x="1044" y="507"/>
                  </a:cubicBezTo>
                  <a:cubicBezTo>
                    <a:pt x="1046" y="507"/>
                    <a:pt x="1046" y="507"/>
                    <a:pt x="1046" y="507"/>
                  </a:cubicBezTo>
                  <a:cubicBezTo>
                    <a:pt x="1049" y="507"/>
                    <a:pt x="1052" y="507"/>
                    <a:pt x="1054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7" y="507"/>
                    <a:pt x="1059" y="507"/>
                    <a:pt x="1061" y="507"/>
                  </a:cubicBezTo>
                  <a:cubicBezTo>
                    <a:pt x="1061" y="507"/>
                    <a:pt x="1061" y="507"/>
                    <a:pt x="1061" y="507"/>
                  </a:cubicBezTo>
                  <a:cubicBezTo>
                    <a:pt x="1063" y="507"/>
                    <a:pt x="1065" y="507"/>
                    <a:pt x="1067" y="507"/>
                  </a:cubicBezTo>
                  <a:cubicBezTo>
                    <a:pt x="1067" y="507"/>
                    <a:pt x="1067" y="507"/>
                    <a:pt x="1067" y="507"/>
                  </a:cubicBezTo>
                  <a:cubicBezTo>
                    <a:pt x="1069" y="507"/>
                    <a:pt x="1072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6" y="507"/>
                    <a:pt x="1078" y="506"/>
                    <a:pt x="1080" y="506"/>
                  </a:cubicBezTo>
                  <a:cubicBezTo>
                    <a:pt x="1080" y="506"/>
                    <a:pt x="1080" y="506"/>
                    <a:pt x="1080" y="506"/>
                  </a:cubicBezTo>
                  <a:cubicBezTo>
                    <a:pt x="1082" y="506"/>
                    <a:pt x="1084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8" y="505"/>
                    <a:pt x="1091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5" y="504"/>
                    <a:pt x="1097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101" y="503"/>
                    <a:pt x="1103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7" y="502"/>
                    <a:pt x="1109" y="502"/>
                    <a:pt x="1111" y="501"/>
                  </a:cubicBezTo>
                  <a:cubicBezTo>
                    <a:pt x="1111" y="501"/>
                    <a:pt x="1111" y="501"/>
                    <a:pt x="1111" y="501"/>
                  </a:cubicBezTo>
                  <a:cubicBezTo>
                    <a:pt x="1113" y="501"/>
                    <a:pt x="1115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9" y="499"/>
                    <a:pt x="1121" y="499"/>
                    <a:pt x="1123" y="498"/>
                  </a:cubicBezTo>
                  <a:cubicBezTo>
                    <a:pt x="1123" y="498"/>
                    <a:pt x="1123" y="498"/>
                    <a:pt x="1123" y="498"/>
                  </a:cubicBezTo>
                  <a:cubicBezTo>
                    <a:pt x="1127" y="497"/>
                    <a:pt x="1131" y="496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213" y="468"/>
                    <a:pt x="1275" y="406"/>
                    <a:pt x="1299" y="324"/>
                  </a:cubicBezTo>
                  <a:cubicBezTo>
                    <a:pt x="1299" y="324"/>
                    <a:pt x="1299" y="324"/>
                    <a:pt x="1299" y="324"/>
                  </a:cubicBezTo>
                  <a:cubicBezTo>
                    <a:pt x="1300" y="318"/>
                    <a:pt x="1302" y="312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4" y="304"/>
                    <a:pt x="1304" y="302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5" y="297"/>
                    <a:pt x="1305" y="295"/>
                    <a:pt x="1305" y="293"/>
                  </a:cubicBezTo>
                  <a:cubicBezTo>
                    <a:pt x="1305" y="293"/>
                    <a:pt x="1305" y="293"/>
                    <a:pt x="1305" y="293"/>
                  </a:cubicBezTo>
                  <a:cubicBezTo>
                    <a:pt x="1306" y="289"/>
                    <a:pt x="1307" y="285"/>
                    <a:pt x="1307" y="280"/>
                  </a:cubicBezTo>
                  <a:cubicBezTo>
                    <a:pt x="1307" y="280"/>
                    <a:pt x="1307" y="280"/>
                    <a:pt x="1307" y="280"/>
                  </a:cubicBezTo>
                  <a:cubicBezTo>
                    <a:pt x="1307" y="278"/>
                    <a:pt x="1307" y="276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8" y="269"/>
                    <a:pt x="1308" y="265"/>
                    <a:pt x="1308" y="260"/>
                  </a:cubicBezTo>
                  <a:cubicBezTo>
                    <a:pt x="1308" y="260"/>
                    <a:pt x="1308" y="260"/>
                    <a:pt x="1308" y="260"/>
                  </a:cubicBezTo>
                  <a:cubicBezTo>
                    <a:pt x="1308" y="258"/>
                    <a:pt x="1308" y="256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1"/>
                    <a:pt x="1308" y="249"/>
                    <a:pt x="1308" y="247"/>
                  </a:cubicBezTo>
                  <a:cubicBezTo>
                    <a:pt x="1308" y="247"/>
                    <a:pt x="1308" y="247"/>
                    <a:pt x="1308" y="247"/>
                  </a:cubicBezTo>
                  <a:cubicBezTo>
                    <a:pt x="1308" y="243"/>
                    <a:pt x="1308" y="238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7" y="231"/>
                    <a:pt x="1307" y="229"/>
                    <a:pt x="1307" y="227"/>
                  </a:cubicBezTo>
                  <a:cubicBezTo>
                    <a:pt x="1307" y="227"/>
                    <a:pt x="1307" y="227"/>
                    <a:pt x="1307" y="227"/>
                  </a:cubicBezTo>
                  <a:cubicBezTo>
                    <a:pt x="1307" y="223"/>
                    <a:pt x="1306" y="218"/>
                    <a:pt x="1305" y="214"/>
                  </a:cubicBezTo>
                  <a:cubicBezTo>
                    <a:pt x="1305" y="214"/>
                    <a:pt x="1305" y="214"/>
                    <a:pt x="1305" y="214"/>
                  </a:cubicBezTo>
                  <a:cubicBezTo>
                    <a:pt x="1305" y="212"/>
                    <a:pt x="1305" y="210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4" y="206"/>
                    <a:pt x="1304" y="204"/>
                    <a:pt x="1303" y="201"/>
                  </a:cubicBezTo>
                  <a:cubicBezTo>
                    <a:pt x="1303" y="201"/>
                    <a:pt x="1303" y="201"/>
                    <a:pt x="1303" y="201"/>
                  </a:cubicBezTo>
                  <a:cubicBezTo>
                    <a:pt x="1302" y="195"/>
                    <a:pt x="1300" y="189"/>
                    <a:pt x="1299" y="183"/>
                  </a:cubicBezTo>
                  <a:cubicBezTo>
                    <a:pt x="1299" y="183"/>
                    <a:pt x="1299" y="183"/>
                    <a:pt x="1299" y="183"/>
                  </a:cubicBezTo>
                  <a:cubicBezTo>
                    <a:pt x="1275" y="102"/>
                    <a:pt x="1213" y="39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131" y="11"/>
                    <a:pt x="1127" y="10"/>
                    <a:pt x="1123" y="9"/>
                  </a:cubicBezTo>
                  <a:cubicBezTo>
                    <a:pt x="1123" y="9"/>
                    <a:pt x="1123" y="9"/>
                    <a:pt x="1123" y="9"/>
                  </a:cubicBezTo>
                  <a:cubicBezTo>
                    <a:pt x="1121" y="9"/>
                    <a:pt x="1119" y="8"/>
                    <a:pt x="1117" y="7"/>
                  </a:cubicBezTo>
                  <a:cubicBezTo>
                    <a:pt x="1117" y="7"/>
                    <a:pt x="1117" y="7"/>
                    <a:pt x="1117" y="7"/>
                  </a:cubicBezTo>
                  <a:cubicBezTo>
                    <a:pt x="1115" y="7"/>
                    <a:pt x="1113" y="7"/>
                    <a:pt x="1111" y="6"/>
                  </a:cubicBezTo>
                  <a:cubicBezTo>
                    <a:pt x="1111" y="6"/>
                    <a:pt x="1111" y="6"/>
                    <a:pt x="1111" y="6"/>
                  </a:cubicBezTo>
                  <a:cubicBezTo>
                    <a:pt x="1109" y="6"/>
                    <a:pt x="1107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3" y="4"/>
                    <a:pt x="1101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097" y="3"/>
                    <a:pt x="1095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1" y="2"/>
                    <a:pt x="1088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4" y="1"/>
                    <a:pt x="1082" y="1"/>
                    <a:pt x="1080" y="1"/>
                  </a:cubicBezTo>
                  <a:cubicBezTo>
                    <a:pt x="1080" y="1"/>
                    <a:pt x="1080" y="1"/>
                    <a:pt x="1080" y="1"/>
                  </a:cubicBezTo>
                  <a:cubicBezTo>
                    <a:pt x="1078" y="1"/>
                    <a:pt x="1076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2" y="0"/>
                    <a:pt x="1069" y="0"/>
                    <a:pt x="1067" y="0"/>
                  </a:cubicBezTo>
                  <a:cubicBezTo>
                    <a:pt x="1067" y="0"/>
                    <a:pt x="1067" y="0"/>
                    <a:pt x="1067" y="0"/>
                  </a:cubicBezTo>
                  <a:cubicBezTo>
                    <a:pt x="1065" y="0"/>
                    <a:pt x="1063" y="0"/>
                    <a:pt x="1061" y="0"/>
                  </a:cubicBezTo>
                  <a:cubicBezTo>
                    <a:pt x="1061" y="0"/>
                    <a:pt x="1061" y="0"/>
                    <a:pt x="1061" y="0"/>
                  </a:cubicBezTo>
                  <a:cubicBezTo>
                    <a:pt x="1059" y="0"/>
                    <a:pt x="1057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3" y="0"/>
                    <a:pt x="1053" y="0"/>
                    <a:pt x="1053" y="0"/>
                  </a:cubicBezTo>
                  <a:cubicBezTo>
                    <a:pt x="1052" y="0"/>
                    <a:pt x="1051" y="0"/>
                    <a:pt x="1051" y="0"/>
                  </a:cubicBezTo>
                  <a:cubicBezTo>
                    <a:pt x="1050" y="0"/>
                    <a:pt x="1048" y="0"/>
                    <a:pt x="1047" y="0"/>
                  </a:cubicBezTo>
                  <a:cubicBezTo>
                    <a:pt x="1047" y="0"/>
                    <a:pt x="1047" y="0"/>
                    <a:pt x="1047" y="0"/>
                  </a:cubicBezTo>
                  <a:cubicBezTo>
                    <a:pt x="953" y="2"/>
                    <a:pt x="898" y="53"/>
                    <a:pt x="820" y="88"/>
                  </a:cubicBezTo>
                  <a:cubicBezTo>
                    <a:pt x="775" y="107"/>
                    <a:pt x="723" y="121"/>
                    <a:pt x="653" y="122"/>
                  </a:cubicBezTo>
                  <a:cubicBezTo>
                    <a:pt x="585" y="121"/>
                    <a:pt x="533" y="107"/>
                    <a:pt x="489" y="89"/>
                  </a:cubicBezTo>
                  <a:cubicBezTo>
                    <a:pt x="412" y="54"/>
                    <a:pt x="359" y="5"/>
                    <a:pt x="268" y="0"/>
                  </a:cubicBezTo>
                  <a:cubicBezTo>
                    <a:pt x="267" y="0"/>
                    <a:pt x="265" y="0"/>
                    <a:pt x="264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9" y="0"/>
                    <a:pt x="256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1" y="0"/>
                    <a:pt x="249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5" y="0"/>
                    <a:pt x="243" y="0"/>
                    <a:pt x="241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39" y="0"/>
                    <a:pt x="236" y="0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2" y="1"/>
                    <a:pt x="230" y="1"/>
                    <a:pt x="228" y="1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6" y="1"/>
                    <a:pt x="224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0" y="2"/>
                    <a:pt x="218" y="2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3" y="3"/>
                    <a:pt x="211" y="3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07" y="4"/>
                    <a:pt x="205" y="4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1" y="5"/>
                    <a:pt x="199" y="6"/>
                    <a:pt x="197" y="6"/>
                  </a:cubicBezTo>
                  <a:cubicBezTo>
                    <a:pt x="197" y="6"/>
                    <a:pt x="197" y="6"/>
                    <a:pt x="197" y="6"/>
                  </a:cubicBezTo>
                  <a:cubicBezTo>
                    <a:pt x="195" y="7"/>
                    <a:pt x="193" y="7"/>
                    <a:pt x="191" y="7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89" y="8"/>
                    <a:pt x="187" y="9"/>
                    <a:pt x="185" y="9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1" y="10"/>
                    <a:pt x="177" y="11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95" y="39"/>
                    <a:pt x="33" y="102"/>
                    <a:pt x="9" y="183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8" y="189"/>
                    <a:pt x="6" y="195"/>
                    <a:pt x="5" y="201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4" y="204"/>
                    <a:pt x="4" y="206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3" y="210"/>
                    <a:pt x="3" y="212"/>
                    <a:pt x="3" y="214"/>
                  </a:cubicBezTo>
                  <a:cubicBezTo>
                    <a:pt x="3" y="214"/>
                    <a:pt x="3" y="214"/>
                    <a:pt x="3" y="214"/>
                  </a:cubicBezTo>
                  <a:cubicBezTo>
                    <a:pt x="2" y="218"/>
                    <a:pt x="1" y="223"/>
                    <a:pt x="1" y="227"/>
                  </a:cubicBezTo>
                  <a:cubicBezTo>
                    <a:pt x="1" y="227"/>
                    <a:pt x="1" y="227"/>
                    <a:pt x="1" y="227"/>
                  </a:cubicBezTo>
                  <a:cubicBezTo>
                    <a:pt x="1" y="229"/>
                    <a:pt x="1" y="231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8"/>
                    <a:pt x="0" y="243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9"/>
                    <a:pt x="0" y="251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6"/>
                    <a:pt x="0" y="258"/>
                    <a:pt x="0" y="26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65"/>
                    <a:pt x="0" y="269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" y="276"/>
                    <a:pt x="1" y="278"/>
                    <a:pt x="1" y="280"/>
                  </a:cubicBezTo>
                  <a:cubicBezTo>
                    <a:pt x="1" y="280"/>
                    <a:pt x="1" y="280"/>
                    <a:pt x="1" y="280"/>
                  </a:cubicBezTo>
                  <a:cubicBezTo>
                    <a:pt x="1" y="285"/>
                    <a:pt x="2" y="289"/>
                    <a:pt x="3" y="293"/>
                  </a:cubicBezTo>
                  <a:cubicBezTo>
                    <a:pt x="3" y="293"/>
                    <a:pt x="3" y="293"/>
                    <a:pt x="3" y="293"/>
                  </a:cubicBezTo>
                  <a:cubicBezTo>
                    <a:pt x="3" y="295"/>
                    <a:pt x="3" y="297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4" y="302"/>
                    <a:pt x="4" y="304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6" y="312"/>
                    <a:pt x="8" y="318"/>
                    <a:pt x="9" y="324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33" y="406"/>
                    <a:pt x="95" y="468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177" y="496"/>
                    <a:pt x="181" y="497"/>
                    <a:pt x="185" y="498"/>
                  </a:cubicBezTo>
                  <a:cubicBezTo>
                    <a:pt x="185" y="498"/>
                    <a:pt x="185" y="498"/>
                    <a:pt x="185" y="498"/>
                  </a:cubicBezTo>
                  <a:cubicBezTo>
                    <a:pt x="187" y="499"/>
                    <a:pt x="189" y="499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93" y="500"/>
                    <a:pt x="195" y="501"/>
                    <a:pt x="197" y="501"/>
                  </a:cubicBezTo>
                  <a:cubicBezTo>
                    <a:pt x="197" y="501"/>
                    <a:pt x="197" y="501"/>
                    <a:pt x="197" y="501"/>
                  </a:cubicBezTo>
                  <a:cubicBezTo>
                    <a:pt x="199" y="502"/>
                    <a:pt x="201" y="502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5" y="503"/>
                    <a:pt x="207" y="503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11" y="504"/>
                    <a:pt x="213" y="504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8" y="505"/>
                    <a:pt x="220" y="505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4" y="506"/>
                    <a:pt x="226" y="506"/>
                    <a:pt x="228" y="506"/>
                  </a:cubicBezTo>
                  <a:cubicBezTo>
                    <a:pt x="228" y="506"/>
                    <a:pt x="228" y="506"/>
                    <a:pt x="228" y="506"/>
                  </a:cubicBezTo>
                  <a:cubicBezTo>
                    <a:pt x="230" y="506"/>
                    <a:pt x="232" y="507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6" y="507"/>
                    <a:pt x="239" y="507"/>
                    <a:pt x="241" y="507"/>
                  </a:cubicBezTo>
                  <a:cubicBezTo>
                    <a:pt x="241" y="507"/>
                    <a:pt x="241" y="507"/>
                    <a:pt x="241" y="507"/>
                  </a:cubicBezTo>
                  <a:cubicBezTo>
                    <a:pt x="243" y="507"/>
                    <a:pt x="245" y="507"/>
                    <a:pt x="247" y="507"/>
                  </a:cubicBezTo>
                  <a:cubicBezTo>
                    <a:pt x="247" y="507"/>
                    <a:pt x="247" y="507"/>
                    <a:pt x="247" y="507"/>
                  </a:cubicBezTo>
                  <a:cubicBezTo>
                    <a:pt x="249" y="507"/>
                    <a:pt x="251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6" y="507"/>
                    <a:pt x="259" y="507"/>
                    <a:pt x="262" y="507"/>
                  </a:cubicBezTo>
                  <a:cubicBezTo>
                    <a:pt x="262" y="507"/>
                    <a:pt x="263" y="507"/>
                    <a:pt x="264" y="507"/>
                  </a:cubicBezTo>
                  <a:cubicBezTo>
                    <a:pt x="265" y="507"/>
                    <a:pt x="267" y="507"/>
                    <a:pt x="268" y="507"/>
                  </a:cubicBezTo>
                  <a:cubicBezTo>
                    <a:pt x="359" y="502"/>
                    <a:pt x="412" y="453"/>
                    <a:pt x="489" y="418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59A16074-8C5C-9FBE-E7E1-1AA3141F8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86 w 483"/>
                <a:gd name="T1" fmla="*/ 86 h 483"/>
                <a:gd name="T2" fmla="*/ 397 w 483"/>
                <a:gd name="T3" fmla="*/ 86 h 483"/>
                <a:gd name="T4" fmla="*/ 397 w 483"/>
                <a:gd name="T5" fmla="*/ 397 h 483"/>
                <a:gd name="T6" fmla="*/ 86 w 483"/>
                <a:gd name="T7" fmla="*/ 397 h 483"/>
                <a:gd name="T8" fmla="*/ 86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86"/>
                  </a:move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B638F5F7-A80F-2E4A-321A-AD8A0ED5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043" y="3242615"/>
              <a:ext cx="708285" cy="1832265"/>
            </a:xfrm>
            <a:custGeom>
              <a:avLst/>
              <a:gdLst>
                <a:gd name="T0" fmla="*/ 88 w 507"/>
                <a:gd name="T1" fmla="*/ 488 h 1309"/>
                <a:gd name="T2" fmla="*/ 0 w 507"/>
                <a:gd name="T3" fmla="*/ 262 h 1309"/>
                <a:gd name="T4" fmla="*/ 0 w 507"/>
                <a:gd name="T5" fmla="*/ 254 h 1309"/>
                <a:gd name="T6" fmla="*/ 0 w 507"/>
                <a:gd name="T7" fmla="*/ 241 h 1309"/>
                <a:gd name="T8" fmla="*/ 0 w 507"/>
                <a:gd name="T9" fmla="*/ 234 h 1309"/>
                <a:gd name="T10" fmla="*/ 1 w 507"/>
                <a:gd name="T11" fmla="*/ 222 h 1309"/>
                <a:gd name="T12" fmla="*/ 2 w 507"/>
                <a:gd name="T13" fmla="*/ 216 h 1309"/>
                <a:gd name="T14" fmla="*/ 5 w 507"/>
                <a:gd name="T15" fmla="*/ 203 h 1309"/>
                <a:gd name="T16" fmla="*/ 6 w 507"/>
                <a:gd name="T17" fmla="*/ 197 h 1309"/>
                <a:gd name="T18" fmla="*/ 9 w 507"/>
                <a:gd name="T19" fmla="*/ 185 h 1309"/>
                <a:gd name="T20" fmla="*/ 13 w 507"/>
                <a:gd name="T21" fmla="*/ 173 h 1309"/>
                <a:gd name="T22" fmla="*/ 201 w 507"/>
                <a:gd name="T23" fmla="*/ 5 h 1309"/>
                <a:gd name="T24" fmla="*/ 208 w 507"/>
                <a:gd name="T25" fmla="*/ 4 h 1309"/>
                <a:gd name="T26" fmla="*/ 227 w 507"/>
                <a:gd name="T27" fmla="*/ 1 h 1309"/>
                <a:gd name="T28" fmla="*/ 233 w 507"/>
                <a:gd name="T29" fmla="*/ 0 h 1309"/>
                <a:gd name="T30" fmla="*/ 253 w 507"/>
                <a:gd name="T31" fmla="*/ 0 h 1309"/>
                <a:gd name="T32" fmla="*/ 260 w 507"/>
                <a:gd name="T33" fmla="*/ 0 h 1309"/>
                <a:gd name="T34" fmla="*/ 280 w 507"/>
                <a:gd name="T35" fmla="*/ 1 h 1309"/>
                <a:gd name="T36" fmla="*/ 293 w 507"/>
                <a:gd name="T37" fmla="*/ 3 h 1309"/>
                <a:gd name="T38" fmla="*/ 305 w 507"/>
                <a:gd name="T39" fmla="*/ 5 h 1309"/>
                <a:gd name="T40" fmla="*/ 324 w 507"/>
                <a:gd name="T41" fmla="*/ 10 h 1309"/>
                <a:gd name="T42" fmla="*/ 498 w 507"/>
                <a:gd name="T43" fmla="*/ 185 h 1309"/>
                <a:gd name="T44" fmla="*/ 499 w 507"/>
                <a:gd name="T45" fmla="*/ 191 h 1309"/>
                <a:gd name="T46" fmla="*/ 502 w 507"/>
                <a:gd name="T47" fmla="*/ 203 h 1309"/>
                <a:gd name="T48" fmla="*/ 503 w 507"/>
                <a:gd name="T49" fmla="*/ 209 h 1309"/>
                <a:gd name="T50" fmla="*/ 505 w 507"/>
                <a:gd name="T51" fmla="*/ 222 h 1309"/>
                <a:gd name="T52" fmla="*/ 506 w 507"/>
                <a:gd name="T53" fmla="*/ 228 h 1309"/>
                <a:gd name="T54" fmla="*/ 507 w 507"/>
                <a:gd name="T55" fmla="*/ 241 h 1309"/>
                <a:gd name="T56" fmla="*/ 507 w 507"/>
                <a:gd name="T57" fmla="*/ 247 h 1309"/>
                <a:gd name="T58" fmla="*/ 507 w 507"/>
                <a:gd name="T59" fmla="*/ 255 h 1309"/>
                <a:gd name="T60" fmla="*/ 507 w 507"/>
                <a:gd name="T61" fmla="*/ 261 h 1309"/>
                <a:gd name="T62" fmla="*/ 418 w 507"/>
                <a:gd name="T63" fmla="*/ 819 h 1309"/>
                <a:gd name="T64" fmla="*/ 507 w 507"/>
                <a:gd name="T65" fmla="*/ 1047 h 1309"/>
                <a:gd name="T66" fmla="*/ 507 w 507"/>
                <a:gd name="T67" fmla="*/ 1055 h 1309"/>
                <a:gd name="T68" fmla="*/ 507 w 507"/>
                <a:gd name="T69" fmla="*/ 1067 h 1309"/>
                <a:gd name="T70" fmla="*/ 507 w 507"/>
                <a:gd name="T71" fmla="*/ 1074 h 1309"/>
                <a:gd name="T72" fmla="*/ 505 w 507"/>
                <a:gd name="T73" fmla="*/ 1086 h 1309"/>
                <a:gd name="T74" fmla="*/ 504 w 507"/>
                <a:gd name="T75" fmla="*/ 1093 h 1309"/>
                <a:gd name="T76" fmla="*/ 502 w 507"/>
                <a:gd name="T77" fmla="*/ 1105 h 1309"/>
                <a:gd name="T78" fmla="*/ 501 w 507"/>
                <a:gd name="T79" fmla="*/ 1111 h 1309"/>
                <a:gd name="T80" fmla="*/ 498 w 507"/>
                <a:gd name="T81" fmla="*/ 1123 h 1309"/>
                <a:gd name="T82" fmla="*/ 494 w 507"/>
                <a:gd name="T83" fmla="*/ 1135 h 1309"/>
                <a:gd name="T84" fmla="*/ 305 w 507"/>
                <a:gd name="T85" fmla="*/ 1303 h 1309"/>
                <a:gd name="T86" fmla="*/ 299 w 507"/>
                <a:gd name="T87" fmla="*/ 1305 h 1309"/>
                <a:gd name="T88" fmla="*/ 280 w 507"/>
                <a:gd name="T89" fmla="*/ 1307 h 1309"/>
                <a:gd name="T90" fmla="*/ 273 w 507"/>
                <a:gd name="T91" fmla="*/ 1308 h 1309"/>
                <a:gd name="T92" fmla="*/ 253 w 507"/>
                <a:gd name="T93" fmla="*/ 1309 h 1309"/>
                <a:gd name="T94" fmla="*/ 247 w 507"/>
                <a:gd name="T95" fmla="*/ 1309 h 1309"/>
                <a:gd name="T96" fmla="*/ 227 w 507"/>
                <a:gd name="T97" fmla="*/ 1307 h 1309"/>
                <a:gd name="T98" fmla="*/ 214 w 507"/>
                <a:gd name="T99" fmla="*/ 1306 h 1309"/>
                <a:gd name="T100" fmla="*/ 201 w 507"/>
                <a:gd name="T101" fmla="*/ 1303 h 1309"/>
                <a:gd name="T102" fmla="*/ 183 w 507"/>
                <a:gd name="T103" fmla="*/ 1299 h 1309"/>
                <a:gd name="T104" fmla="*/ 9 w 507"/>
                <a:gd name="T105" fmla="*/ 1123 h 1309"/>
                <a:gd name="T106" fmla="*/ 7 w 507"/>
                <a:gd name="T107" fmla="*/ 1117 h 1309"/>
                <a:gd name="T108" fmla="*/ 5 w 507"/>
                <a:gd name="T109" fmla="*/ 1105 h 1309"/>
                <a:gd name="T110" fmla="*/ 3 w 507"/>
                <a:gd name="T111" fmla="*/ 1099 h 1309"/>
                <a:gd name="T112" fmla="*/ 1 w 507"/>
                <a:gd name="T113" fmla="*/ 1086 h 1309"/>
                <a:gd name="T114" fmla="*/ 1 w 507"/>
                <a:gd name="T115" fmla="*/ 1080 h 1309"/>
                <a:gd name="T116" fmla="*/ 0 w 507"/>
                <a:gd name="T117" fmla="*/ 1067 h 1309"/>
                <a:gd name="T118" fmla="*/ 0 w 507"/>
                <a:gd name="T119" fmla="*/ 1061 h 1309"/>
                <a:gd name="T120" fmla="*/ 0 w 507"/>
                <a:gd name="T121" fmla="*/ 1055 h 1309"/>
                <a:gd name="T122" fmla="*/ 0 w 507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7" h="1309">
                  <a:moveTo>
                    <a:pt x="89" y="819"/>
                  </a:moveTo>
                  <a:cubicBezTo>
                    <a:pt x="107" y="775"/>
                    <a:pt x="120" y="724"/>
                    <a:pt x="121" y="656"/>
                  </a:cubicBezTo>
                  <a:cubicBezTo>
                    <a:pt x="121" y="586"/>
                    <a:pt x="107" y="533"/>
                    <a:pt x="88" y="488"/>
                  </a:cubicBezTo>
                  <a:cubicBezTo>
                    <a:pt x="53" y="412"/>
                    <a:pt x="5" y="358"/>
                    <a:pt x="0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39"/>
                    <a:pt x="0" y="237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6"/>
                    <a:pt x="1" y="224"/>
                    <a:pt x="1" y="222"/>
                  </a:cubicBezTo>
                  <a:cubicBezTo>
                    <a:pt x="1" y="222"/>
                    <a:pt x="1" y="222"/>
                    <a:pt x="1" y="222"/>
                  </a:cubicBezTo>
                  <a:cubicBezTo>
                    <a:pt x="2" y="220"/>
                    <a:pt x="2" y="218"/>
                    <a:pt x="2" y="216"/>
                  </a:cubicBezTo>
                  <a:cubicBezTo>
                    <a:pt x="2" y="216"/>
                    <a:pt x="2" y="216"/>
                    <a:pt x="2" y="216"/>
                  </a:cubicBezTo>
                  <a:cubicBezTo>
                    <a:pt x="3" y="214"/>
                    <a:pt x="3" y="212"/>
                    <a:pt x="3" y="209"/>
                  </a:cubicBezTo>
                  <a:cubicBezTo>
                    <a:pt x="3" y="209"/>
                    <a:pt x="3" y="209"/>
                    <a:pt x="3" y="209"/>
                  </a:cubicBezTo>
                  <a:cubicBezTo>
                    <a:pt x="4" y="207"/>
                    <a:pt x="4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5" y="201"/>
                    <a:pt x="5" y="199"/>
                    <a:pt x="6" y="197"/>
                  </a:cubicBezTo>
                  <a:cubicBezTo>
                    <a:pt x="6" y="197"/>
                    <a:pt x="6" y="197"/>
                    <a:pt x="6" y="197"/>
                  </a:cubicBezTo>
                  <a:cubicBezTo>
                    <a:pt x="6" y="195"/>
                    <a:pt x="7" y="193"/>
                    <a:pt x="7" y="191"/>
                  </a:cubicBezTo>
                  <a:cubicBezTo>
                    <a:pt x="7" y="191"/>
                    <a:pt x="7" y="191"/>
                    <a:pt x="7" y="191"/>
                  </a:cubicBezTo>
                  <a:cubicBezTo>
                    <a:pt x="8" y="189"/>
                    <a:pt x="8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0" y="181"/>
                    <a:pt x="11" y="177"/>
                    <a:pt x="12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8" y="95"/>
                    <a:pt x="101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5" y="6"/>
                    <a:pt x="201" y="5"/>
                  </a:cubicBezTo>
                  <a:cubicBezTo>
                    <a:pt x="201" y="5"/>
                    <a:pt x="201" y="5"/>
                    <a:pt x="201" y="5"/>
                  </a:cubicBezTo>
                  <a:cubicBezTo>
                    <a:pt x="203" y="5"/>
                    <a:pt x="205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4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218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29" y="1"/>
                    <a:pt x="231" y="1"/>
                    <a:pt x="233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8" y="0"/>
                    <a:pt x="242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9" y="0"/>
                    <a:pt x="251" y="0"/>
                    <a:pt x="253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56" y="0"/>
                    <a:pt x="258" y="0"/>
                    <a:pt x="260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5" y="0"/>
                    <a:pt x="269" y="0"/>
                    <a:pt x="273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6" y="1"/>
                    <a:pt x="278" y="1"/>
                    <a:pt x="280" y="1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284" y="2"/>
                    <a:pt x="289" y="2"/>
                    <a:pt x="293" y="3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295" y="3"/>
                    <a:pt x="297" y="3"/>
                    <a:pt x="299" y="4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301" y="4"/>
                    <a:pt x="303" y="5"/>
                    <a:pt x="305" y="5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12" y="6"/>
                    <a:pt x="318" y="8"/>
                    <a:pt x="324" y="10"/>
                  </a:cubicBezTo>
                  <a:cubicBezTo>
                    <a:pt x="324" y="10"/>
                    <a:pt x="324" y="10"/>
                    <a:pt x="324" y="10"/>
                  </a:cubicBezTo>
                  <a:cubicBezTo>
                    <a:pt x="405" y="33"/>
                    <a:pt x="468" y="95"/>
                    <a:pt x="494" y="173"/>
                  </a:cubicBezTo>
                  <a:cubicBezTo>
                    <a:pt x="494" y="173"/>
                    <a:pt x="494" y="173"/>
                    <a:pt x="494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8" y="187"/>
                    <a:pt x="499" y="189"/>
                    <a:pt x="499" y="191"/>
                  </a:cubicBezTo>
                  <a:cubicBezTo>
                    <a:pt x="499" y="191"/>
                    <a:pt x="499" y="191"/>
                    <a:pt x="499" y="191"/>
                  </a:cubicBezTo>
                  <a:cubicBezTo>
                    <a:pt x="500" y="193"/>
                    <a:pt x="501" y="195"/>
                    <a:pt x="501" y="197"/>
                  </a:cubicBezTo>
                  <a:cubicBezTo>
                    <a:pt x="501" y="197"/>
                    <a:pt x="501" y="197"/>
                    <a:pt x="501" y="197"/>
                  </a:cubicBezTo>
                  <a:cubicBezTo>
                    <a:pt x="501" y="199"/>
                    <a:pt x="502" y="201"/>
                    <a:pt x="502" y="203"/>
                  </a:cubicBezTo>
                  <a:cubicBezTo>
                    <a:pt x="502" y="203"/>
                    <a:pt x="502" y="203"/>
                    <a:pt x="502" y="203"/>
                  </a:cubicBezTo>
                  <a:cubicBezTo>
                    <a:pt x="503" y="205"/>
                    <a:pt x="503" y="207"/>
                    <a:pt x="503" y="209"/>
                  </a:cubicBezTo>
                  <a:cubicBezTo>
                    <a:pt x="503" y="209"/>
                    <a:pt x="503" y="209"/>
                    <a:pt x="503" y="209"/>
                  </a:cubicBezTo>
                  <a:cubicBezTo>
                    <a:pt x="504" y="212"/>
                    <a:pt x="504" y="214"/>
                    <a:pt x="504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5" y="218"/>
                    <a:pt x="505" y="220"/>
                    <a:pt x="505" y="222"/>
                  </a:cubicBezTo>
                  <a:cubicBezTo>
                    <a:pt x="505" y="222"/>
                    <a:pt x="505" y="222"/>
                    <a:pt x="505" y="222"/>
                  </a:cubicBezTo>
                  <a:cubicBezTo>
                    <a:pt x="506" y="224"/>
                    <a:pt x="506" y="226"/>
                    <a:pt x="506" y="228"/>
                  </a:cubicBezTo>
                  <a:cubicBezTo>
                    <a:pt x="506" y="228"/>
                    <a:pt x="506" y="228"/>
                    <a:pt x="506" y="228"/>
                  </a:cubicBezTo>
                  <a:cubicBezTo>
                    <a:pt x="506" y="230"/>
                    <a:pt x="506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7" y="239"/>
                    <a:pt x="507" y="241"/>
                  </a:cubicBezTo>
                  <a:cubicBezTo>
                    <a:pt x="507" y="241"/>
                    <a:pt x="507" y="241"/>
                    <a:pt x="507" y="241"/>
                  </a:cubicBezTo>
                  <a:cubicBezTo>
                    <a:pt x="507" y="243"/>
                    <a:pt x="507" y="245"/>
                    <a:pt x="507" y="247"/>
                  </a:cubicBezTo>
                  <a:cubicBezTo>
                    <a:pt x="507" y="247"/>
                    <a:pt x="507" y="247"/>
                    <a:pt x="507" y="247"/>
                  </a:cubicBezTo>
                  <a:cubicBezTo>
                    <a:pt x="507" y="249"/>
                    <a:pt x="507" y="251"/>
                    <a:pt x="507" y="254"/>
                  </a:cubicBezTo>
                  <a:cubicBezTo>
                    <a:pt x="507" y="254"/>
                    <a:pt x="507" y="254"/>
                    <a:pt x="507" y="254"/>
                  </a:cubicBezTo>
                  <a:cubicBezTo>
                    <a:pt x="507" y="255"/>
                    <a:pt x="507" y="255"/>
                    <a:pt x="507" y="255"/>
                  </a:cubicBezTo>
                  <a:cubicBezTo>
                    <a:pt x="507" y="256"/>
                    <a:pt x="507" y="257"/>
                    <a:pt x="507" y="258"/>
                  </a:cubicBezTo>
                  <a:cubicBezTo>
                    <a:pt x="507" y="259"/>
                    <a:pt x="507" y="260"/>
                    <a:pt x="507" y="261"/>
                  </a:cubicBezTo>
                  <a:cubicBezTo>
                    <a:pt x="507" y="261"/>
                    <a:pt x="507" y="261"/>
                    <a:pt x="507" y="261"/>
                  </a:cubicBezTo>
                  <a:cubicBezTo>
                    <a:pt x="505" y="355"/>
                    <a:pt x="454" y="410"/>
                    <a:pt x="419" y="488"/>
                  </a:cubicBezTo>
                  <a:cubicBezTo>
                    <a:pt x="400" y="533"/>
                    <a:pt x="386" y="586"/>
                    <a:pt x="385" y="656"/>
                  </a:cubicBezTo>
                  <a:cubicBezTo>
                    <a:pt x="386" y="723"/>
                    <a:pt x="400" y="775"/>
                    <a:pt x="418" y="819"/>
                  </a:cubicBezTo>
                  <a:cubicBezTo>
                    <a:pt x="453" y="896"/>
                    <a:pt x="502" y="950"/>
                    <a:pt x="507" y="1040"/>
                  </a:cubicBezTo>
                  <a:cubicBezTo>
                    <a:pt x="507" y="1041"/>
                    <a:pt x="507" y="1043"/>
                    <a:pt x="507" y="1044"/>
                  </a:cubicBezTo>
                  <a:cubicBezTo>
                    <a:pt x="507" y="1047"/>
                    <a:pt x="507" y="1047"/>
                    <a:pt x="507" y="1047"/>
                  </a:cubicBezTo>
                  <a:cubicBezTo>
                    <a:pt x="507" y="1049"/>
                    <a:pt x="507" y="1052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7"/>
                    <a:pt x="507" y="1059"/>
                    <a:pt x="507" y="1061"/>
                  </a:cubicBezTo>
                  <a:cubicBezTo>
                    <a:pt x="507" y="1061"/>
                    <a:pt x="507" y="1061"/>
                    <a:pt x="507" y="1061"/>
                  </a:cubicBezTo>
                  <a:cubicBezTo>
                    <a:pt x="507" y="1063"/>
                    <a:pt x="507" y="1065"/>
                    <a:pt x="507" y="1067"/>
                  </a:cubicBezTo>
                  <a:cubicBezTo>
                    <a:pt x="507" y="1067"/>
                    <a:pt x="507" y="1067"/>
                    <a:pt x="507" y="1067"/>
                  </a:cubicBezTo>
                  <a:cubicBezTo>
                    <a:pt x="507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6" y="1076"/>
                    <a:pt x="506" y="1078"/>
                    <a:pt x="506" y="1080"/>
                  </a:cubicBezTo>
                  <a:cubicBezTo>
                    <a:pt x="506" y="1080"/>
                    <a:pt x="506" y="1080"/>
                    <a:pt x="506" y="1080"/>
                  </a:cubicBezTo>
                  <a:cubicBezTo>
                    <a:pt x="506" y="1082"/>
                    <a:pt x="506" y="1084"/>
                    <a:pt x="505" y="1086"/>
                  </a:cubicBezTo>
                  <a:cubicBezTo>
                    <a:pt x="505" y="1086"/>
                    <a:pt x="505" y="1086"/>
                    <a:pt x="505" y="1086"/>
                  </a:cubicBezTo>
                  <a:cubicBezTo>
                    <a:pt x="505" y="1089"/>
                    <a:pt x="505" y="1091"/>
                    <a:pt x="504" y="1093"/>
                  </a:cubicBezTo>
                  <a:cubicBezTo>
                    <a:pt x="504" y="1093"/>
                    <a:pt x="504" y="1093"/>
                    <a:pt x="504" y="1093"/>
                  </a:cubicBezTo>
                  <a:cubicBezTo>
                    <a:pt x="504" y="1095"/>
                    <a:pt x="504" y="1097"/>
                    <a:pt x="503" y="1099"/>
                  </a:cubicBezTo>
                  <a:cubicBezTo>
                    <a:pt x="503" y="1099"/>
                    <a:pt x="503" y="1099"/>
                    <a:pt x="503" y="1099"/>
                  </a:cubicBezTo>
                  <a:cubicBezTo>
                    <a:pt x="503" y="1101"/>
                    <a:pt x="503" y="1103"/>
                    <a:pt x="502" y="1105"/>
                  </a:cubicBezTo>
                  <a:cubicBezTo>
                    <a:pt x="502" y="1105"/>
                    <a:pt x="502" y="1105"/>
                    <a:pt x="502" y="1105"/>
                  </a:cubicBezTo>
                  <a:cubicBezTo>
                    <a:pt x="502" y="1107"/>
                    <a:pt x="501" y="1109"/>
                    <a:pt x="501" y="1111"/>
                  </a:cubicBezTo>
                  <a:cubicBezTo>
                    <a:pt x="501" y="1111"/>
                    <a:pt x="501" y="1111"/>
                    <a:pt x="501" y="1111"/>
                  </a:cubicBezTo>
                  <a:cubicBezTo>
                    <a:pt x="501" y="1113"/>
                    <a:pt x="500" y="1115"/>
                    <a:pt x="499" y="1117"/>
                  </a:cubicBezTo>
                  <a:cubicBezTo>
                    <a:pt x="499" y="1117"/>
                    <a:pt x="499" y="1117"/>
                    <a:pt x="499" y="1117"/>
                  </a:cubicBezTo>
                  <a:cubicBezTo>
                    <a:pt x="499" y="1119"/>
                    <a:pt x="498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4" y="1135"/>
                  </a:cubicBezTo>
                  <a:cubicBezTo>
                    <a:pt x="494" y="1135"/>
                    <a:pt x="494" y="1135"/>
                    <a:pt x="494" y="1135"/>
                  </a:cubicBezTo>
                  <a:cubicBezTo>
                    <a:pt x="468" y="1213"/>
                    <a:pt x="405" y="1276"/>
                    <a:pt x="324" y="1299"/>
                  </a:cubicBezTo>
                  <a:cubicBezTo>
                    <a:pt x="324" y="1299"/>
                    <a:pt x="324" y="1299"/>
                    <a:pt x="324" y="1299"/>
                  </a:cubicBezTo>
                  <a:cubicBezTo>
                    <a:pt x="318" y="1301"/>
                    <a:pt x="312" y="1302"/>
                    <a:pt x="305" y="1303"/>
                  </a:cubicBezTo>
                  <a:cubicBezTo>
                    <a:pt x="305" y="1303"/>
                    <a:pt x="305" y="1303"/>
                    <a:pt x="305" y="1303"/>
                  </a:cubicBezTo>
                  <a:cubicBezTo>
                    <a:pt x="303" y="1304"/>
                    <a:pt x="301" y="1304"/>
                    <a:pt x="299" y="1305"/>
                  </a:cubicBezTo>
                  <a:cubicBezTo>
                    <a:pt x="299" y="1305"/>
                    <a:pt x="299" y="1305"/>
                    <a:pt x="299" y="1305"/>
                  </a:cubicBezTo>
                  <a:cubicBezTo>
                    <a:pt x="297" y="1305"/>
                    <a:pt x="295" y="1305"/>
                    <a:pt x="293" y="1306"/>
                  </a:cubicBezTo>
                  <a:cubicBezTo>
                    <a:pt x="293" y="1306"/>
                    <a:pt x="293" y="1306"/>
                    <a:pt x="293" y="1306"/>
                  </a:cubicBezTo>
                  <a:cubicBezTo>
                    <a:pt x="289" y="1306"/>
                    <a:pt x="284" y="1307"/>
                    <a:pt x="280" y="1307"/>
                  </a:cubicBezTo>
                  <a:cubicBezTo>
                    <a:pt x="280" y="1307"/>
                    <a:pt x="280" y="1307"/>
                    <a:pt x="280" y="1307"/>
                  </a:cubicBezTo>
                  <a:cubicBezTo>
                    <a:pt x="278" y="1308"/>
                    <a:pt x="276" y="1308"/>
                    <a:pt x="273" y="1308"/>
                  </a:cubicBezTo>
                  <a:cubicBezTo>
                    <a:pt x="273" y="1308"/>
                    <a:pt x="273" y="1308"/>
                    <a:pt x="273" y="1308"/>
                  </a:cubicBezTo>
                  <a:cubicBezTo>
                    <a:pt x="269" y="1308"/>
                    <a:pt x="265" y="1308"/>
                    <a:pt x="260" y="1309"/>
                  </a:cubicBezTo>
                  <a:cubicBezTo>
                    <a:pt x="260" y="1309"/>
                    <a:pt x="260" y="1309"/>
                    <a:pt x="260" y="1309"/>
                  </a:cubicBezTo>
                  <a:cubicBezTo>
                    <a:pt x="258" y="1309"/>
                    <a:pt x="256" y="1309"/>
                    <a:pt x="253" y="1309"/>
                  </a:cubicBezTo>
                  <a:cubicBezTo>
                    <a:pt x="253" y="1309"/>
                    <a:pt x="253" y="1309"/>
                    <a:pt x="253" y="1309"/>
                  </a:cubicBezTo>
                  <a:cubicBezTo>
                    <a:pt x="251" y="1309"/>
                    <a:pt x="249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2" y="1308"/>
                    <a:pt x="238" y="1308"/>
                    <a:pt x="233" y="1308"/>
                  </a:cubicBezTo>
                  <a:cubicBezTo>
                    <a:pt x="233" y="1308"/>
                    <a:pt x="233" y="1308"/>
                    <a:pt x="233" y="1308"/>
                  </a:cubicBezTo>
                  <a:cubicBezTo>
                    <a:pt x="231" y="1308"/>
                    <a:pt x="229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8" y="1306"/>
                    <a:pt x="214" y="1306"/>
                  </a:cubicBezTo>
                  <a:cubicBezTo>
                    <a:pt x="214" y="1306"/>
                    <a:pt x="214" y="1306"/>
                    <a:pt x="214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5" y="1304"/>
                    <a:pt x="203" y="1304"/>
                    <a:pt x="201" y="1303"/>
                  </a:cubicBezTo>
                  <a:cubicBezTo>
                    <a:pt x="201" y="1303"/>
                    <a:pt x="201" y="1303"/>
                    <a:pt x="201" y="1303"/>
                  </a:cubicBezTo>
                  <a:cubicBezTo>
                    <a:pt x="195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1" y="1276"/>
                    <a:pt x="38" y="1213"/>
                    <a:pt x="13" y="1135"/>
                  </a:cubicBezTo>
                  <a:cubicBezTo>
                    <a:pt x="12" y="1135"/>
                    <a:pt x="12" y="1135"/>
                    <a:pt x="12" y="1135"/>
                  </a:cubicBezTo>
                  <a:cubicBezTo>
                    <a:pt x="11" y="1131"/>
                    <a:pt x="10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8" y="1121"/>
                    <a:pt x="8" y="1119"/>
                    <a:pt x="7" y="1117"/>
                  </a:cubicBezTo>
                  <a:cubicBezTo>
                    <a:pt x="7" y="1117"/>
                    <a:pt x="7" y="1117"/>
                    <a:pt x="7" y="1117"/>
                  </a:cubicBezTo>
                  <a:cubicBezTo>
                    <a:pt x="7" y="1115"/>
                    <a:pt x="6" y="1113"/>
                    <a:pt x="6" y="1111"/>
                  </a:cubicBezTo>
                  <a:cubicBezTo>
                    <a:pt x="6" y="1111"/>
                    <a:pt x="6" y="1111"/>
                    <a:pt x="6" y="1111"/>
                  </a:cubicBezTo>
                  <a:cubicBezTo>
                    <a:pt x="5" y="1109"/>
                    <a:pt x="5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4" y="1103"/>
                    <a:pt x="4" y="1101"/>
                    <a:pt x="3" y="1099"/>
                  </a:cubicBezTo>
                  <a:cubicBezTo>
                    <a:pt x="3" y="1099"/>
                    <a:pt x="3" y="1099"/>
                    <a:pt x="3" y="1099"/>
                  </a:cubicBezTo>
                  <a:cubicBezTo>
                    <a:pt x="3" y="1097"/>
                    <a:pt x="3" y="1095"/>
                    <a:pt x="2" y="1093"/>
                  </a:cubicBezTo>
                  <a:cubicBezTo>
                    <a:pt x="2" y="1093"/>
                    <a:pt x="2" y="1093"/>
                    <a:pt x="2" y="1093"/>
                  </a:cubicBezTo>
                  <a:cubicBezTo>
                    <a:pt x="2" y="1091"/>
                    <a:pt x="2" y="1089"/>
                    <a:pt x="1" y="1086"/>
                  </a:cubicBezTo>
                  <a:cubicBezTo>
                    <a:pt x="1" y="1086"/>
                    <a:pt x="1" y="1086"/>
                    <a:pt x="1" y="1086"/>
                  </a:cubicBezTo>
                  <a:cubicBezTo>
                    <a:pt x="1" y="1084"/>
                    <a:pt x="1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0" y="1076"/>
                    <a:pt x="0" y="1074"/>
                  </a:cubicBezTo>
                  <a:cubicBezTo>
                    <a:pt x="0" y="1074"/>
                    <a:pt x="0" y="1074"/>
                    <a:pt x="0" y="1074"/>
                  </a:cubicBezTo>
                  <a:cubicBezTo>
                    <a:pt x="0" y="1072"/>
                    <a:pt x="0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0" y="1040"/>
                  </a:cubicBezTo>
                  <a:cubicBezTo>
                    <a:pt x="5" y="950"/>
                    <a:pt x="54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7" name="Oval 8">
              <a:extLst>
                <a:ext uri="{FF2B5EF4-FFF2-40B4-BE49-F238E27FC236}">
                  <a16:creationId xmlns:a16="http://schemas.microsoft.com/office/drawing/2014/main" id="{87651672-B4A7-6C0C-34E8-1C5D4F606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640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78645BFD-8D71-620B-69AD-1680A2D4B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5154821"/>
              <a:ext cx="1829067" cy="711482"/>
            </a:xfrm>
            <a:custGeom>
              <a:avLst/>
              <a:gdLst>
                <a:gd name="T0" fmla="*/ 820 w 1308"/>
                <a:gd name="T1" fmla="*/ 89 h 508"/>
                <a:gd name="T2" fmla="*/ 1046 w 1308"/>
                <a:gd name="T3" fmla="*/ 1 h 508"/>
                <a:gd name="T4" fmla="*/ 1055 w 1308"/>
                <a:gd name="T5" fmla="*/ 0 h 508"/>
                <a:gd name="T6" fmla="*/ 1067 w 1308"/>
                <a:gd name="T7" fmla="*/ 1 h 508"/>
                <a:gd name="T8" fmla="*/ 1074 w 1308"/>
                <a:gd name="T9" fmla="*/ 1 h 508"/>
                <a:gd name="T10" fmla="*/ 1086 w 1308"/>
                <a:gd name="T11" fmla="*/ 2 h 508"/>
                <a:gd name="T12" fmla="*/ 1093 w 1308"/>
                <a:gd name="T13" fmla="*/ 3 h 508"/>
                <a:gd name="T14" fmla="*/ 1105 w 1308"/>
                <a:gd name="T15" fmla="*/ 5 h 508"/>
                <a:gd name="T16" fmla="*/ 1111 w 1308"/>
                <a:gd name="T17" fmla="*/ 7 h 508"/>
                <a:gd name="T18" fmla="*/ 1123 w 1308"/>
                <a:gd name="T19" fmla="*/ 10 h 508"/>
                <a:gd name="T20" fmla="*/ 1135 w 1308"/>
                <a:gd name="T21" fmla="*/ 13 h 508"/>
                <a:gd name="T22" fmla="*/ 1303 w 1308"/>
                <a:gd name="T23" fmla="*/ 202 h 508"/>
                <a:gd name="T24" fmla="*/ 1304 w 1308"/>
                <a:gd name="T25" fmla="*/ 208 h 508"/>
                <a:gd name="T26" fmla="*/ 1307 w 1308"/>
                <a:gd name="T27" fmla="*/ 228 h 508"/>
                <a:gd name="T28" fmla="*/ 1308 w 1308"/>
                <a:gd name="T29" fmla="*/ 234 h 508"/>
                <a:gd name="T30" fmla="*/ 1308 w 1308"/>
                <a:gd name="T31" fmla="*/ 254 h 508"/>
                <a:gd name="T32" fmla="*/ 1308 w 1308"/>
                <a:gd name="T33" fmla="*/ 261 h 508"/>
                <a:gd name="T34" fmla="*/ 1307 w 1308"/>
                <a:gd name="T35" fmla="*/ 281 h 508"/>
                <a:gd name="T36" fmla="*/ 1305 w 1308"/>
                <a:gd name="T37" fmla="*/ 294 h 508"/>
                <a:gd name="T38" fmla="*/ 1303 w 1308"/>
                <a:gd name="T39" fmla="*/ 306 h 508"/>
                <a:gd name="T40" fmla="*/ 1299 w 1308"/>
                <a:gd name="T41" fmla="*/ 325 h 508"/>
                <a:gd name="T42" fmla="*/ 1123 w 1308"/>
                <a:gd name="T43" fmla="*/ 499 h 508"/>
                <a:gd name="T44" fmla="*/ 1117 w 1308"/>
                <a:gd name="T45" fmla="*/ 500 h 508"/>
                <a:gd name="T46" fmla="*/ 1105 w 1308"/>
                <a:gd name="T47" fmla="*/ 503 h 508"/>
                <a:gd name="T48" fmla="*/ 1099 w 1308"/>
                <a:gd name="T49" fmla="*/ 504 h 508"/>
                <a:gd name="T50" fmla="*/ 1086 w 1308"/>
                <a:gd name="T51" fmla="*/ 506 h 508"/>
                <a:gd name="T52" fmla="*/ 1080 w 1308"/>
                <a:gd name="T53" fmla="*/ 507 h 508"/>
                <a:gd name="T54" fmla="*/ 1067 w 1308"/>
                <a:gd name="T55" fmla="*/ 508 h 508"/>
                <a:gd name="T56" fmla="*/ 1061 w 1308"/>
                <a:gd name="T57" fmla="*/ 508 h 508"/>
                <a:gd name="T58" fmla="*/ 1053 w 1308"/>
                <a:gd name="T59" fmla="*/ 508 h 508"/>
                <a:gd name="T60" fmla="*/ 1047 w 1308"/>
                <a:gd name="T61" fmla="*/ 508 h 508"/>
                <a:gd name="T62" fmla="*/ 489 w 1308"/>
                <a:gd name="T63" fmla="*/ 419 h 508"/>
                <a:gd name="T64" fmla="*/ 262 w 1308"/>
                <a:gd name="T65" fmla="*/ 508 h 508"/>
                <a:gd name="T66" fmla="*/ 254 w 1308"/>
                <a:gd name="T67" fmla="*/ 508 h 508"/>
                <a:gd name="T68" fmla="*/ 241 w 1308"/>
                <a:gd name="T69" fmla="*/ 508 h 508"/>
                <a:gd name="T70" fmla="*/ 234 w 1308"/>
                <a:gd name="T71" fmla="*/ 507 h 508"/>
                <a:gd name="T72" fmla="*/ 222 w 1308"/>
                <a:gd name="T73" fmla="*/ 506 h 508"/>
                <a:gd name="T74" fmla="*/ 215 w 1308"/>
                <a:gd name="T75" fmla="*/ 505 h 508"/>
                <a:gd name="T76" fmla="*/ 203 w 1308"/>
                <a:gd name="T77" fmla="*/ 503 h 508"/>
                <a:gd name="T78" fmla="*/ 197 w 1308"/>
                <a:gd name="T79" fmla="*/ 502 h 508"/>
                <a:gd name="T80" fmla="*/ 185 w 1308"/>
                <a:gd name="T81" fmla="*/ 499 h 508"/>
                <a:gd name="T82" fmla="*/ 173 w 1308"/>
                <a:gd name="T83" fmla="*/ 495 h 508"/>
                <a:gd name="T84" fmla="*/ 5 w 1308"/>
                <a:gd name="T85" fmla="*/ 306 h 508"/>
                <a:gd name="T86" fmla="*/ 4 w 1308"/>
                <a:gd name="T87" fmla="*/ 300 h 508"/>
                <a:gd name="T88" fmla="*/ 1 w 1308"/>
                <a:gd name="T89" fmla="*/ 281 h 508"/>
                <a:gd name="T90" fmla="*/ 0 w 1308"/>
                <a:gd name="T91" fmla="*/ 274 h 508"/>
                <a:gd name="T92" fmla="*/ 0 w 1308"/>
                <a:gd name="T93" fmla="*/ 254 h 508"/>
                <a:gd name="T94" fmla="*/ 0 w 1308"/>
                <a:gd name="T95" fmla="*/ 248 h 508"/>
                <a:gd name="T96" fmla="*/ 1 w 1308"/>
                <a:gd name="T97" fmla="*/ 228 h 508"/>
                <a:gd name="T98" fmla="*/ 3 w 1308"/>
                <a:gd name="T99" fmla="*/ 215 h 508"/>
                <a:gd name="T100" fmla="*/ 5 w 1308"/>
                <a:gd name="T101" fmla="*/ 202 h 508"/>
                <a:gd name="T102" fmla="*/ 9 w 1308"/>
                <a:gd name="T103" fmla="*/ 184 h 508"/>
                <a:gd name="T104" fmla="*/ 185 w 1308"/>
                <a:gd name="T105" fmla="*/ 10 h 508"/>
                <a:gd name="T106" fmla="*/ 191 w 1308"/>
                <a:gd name="T107" fmla="*/ 8 h 508"/>
                <a:gd name="T108" fmla="*/ 203 w 1308"/>
                <a:gd name="T109" fmla="*/ 5 h 508"/>
                <a:gd name="T110" fmla="*/ 209 w 1308"/>
                <a:gd name="T111" fmla="*/ 4 h 508"/>
                <a:gd name="T112" fmla="*/ 222 w 1308"/>
                <a:gd name="T113" fmla="*/ 2 h 508"/>
                <a:gd name="T114" fmla="*/ 228 w 1308"/>
                <a:gd name="T115" fmla="*/ 2 h 508"/>
                <a:gd name="T116" fmla="*/ 241 w 1308"/>
                <a:gd name="T117" fmla="*/ 1 h 508"/>
                <a:gd name="T118" fmla="*/ 247 w 1308"/>
                <a:gd name="T119" fmla="*/ 1 h 508"/>
                <a:gd name="T120" fmla="*/ 254 w 1308"/>
                <a:gd name="T121" fmla="*/ 0 h 508"/>
                <a:gd name="T122" fmla="*/ 268 w 1308"/>
                <a:gd name="T123" fmla="*/ 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8">
                  <a:moveTo>
                    <a:pt x="489" y="89"/>
                  </a:moveTo>
                  <a:cubicBezTo>
                    <a:pt x="533" y="107"/>
                    <a:pt x="584" y="121"/>
                    <a:pt x="652" y="122"/>
                  </a:cubicBezTo>
                  <a:cubicBezTo>
                    <a:pt x="722" y="122"/>
                    <a:pt x="775" y="108"/>
                    <a:pt x="820" y="89"/>
                  </a:cubicBezTo>
                  <a:cubicBezTo>
                    <a:pt x="896" y="54"/>
                    <a:pt x="950" y="6"/>
                    <a:pt x="1039" y="1"/>
                  </a:cubicBezTo>
                  <a:cubicBezTo>
                    <a:pt x="1041" y="1"/>
                    <a:pt x="1043" y="1"/>
                    <a:pt x="1044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9" y="1"/>
                    <a:pt x="1052" y="0"/>
                    <a:pt x="1054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7" y="0"/>
                    <a:pt x="1059" y="0"/>
                    <a:pt x="1061" y="1"/>
                  </a:cubicBezTo>
                  <a:cubicBezTo>
                    <a:pt x="1061" y="1"/>
                    <a:pt x="1061" y="1"/>
                    <a:pt x="1061" y="1"/>
                  </a:cubicBezTo>
                  <a:cubicBezTo>
                    <a:pt x="1063" y="1"/>
                    <a:pt x="1065" y="1"/>
                    <a:pt x="1067" y="1"/>
                  </a:cubicBezTo>
                  <a:cubicBezTo>
                    <a:pt x="1067" y="1"/>
                    <a:pt x="1067" y="1"/>
                    <a:pt x="1067" y="1"/>
                  </a:cubicBezTo>
                  <a:cubicBezTo>
                    <a:pt x="1069" y="1"/>
                    <a:pt x="1072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6" y="1"/>
                    <a:pt x="1078" y="1"/>
                    <a:pt x="1080" y="2"/>
                  </a:cubicBezTo>
                  <a:cubicBezTo>
                    <a:pt x="1080" y="2"/>
                    <a:pt x="1080" y="2"/>
                    <a:pt x="1080" y="2"/>
                  </a:cubicBezTo>
                  <a:cubicBezTo>
                    <a:pt x="1082" y="2"/>
                    <a:pt x="1084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8" y="3"/>
                    <a:pt x="1091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5" y="4"/>
                    <a:pt x="1097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101" y="5"/>
                    <a:pt x="1103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7" y="6"/>
                    <a:pt x="1109" y="6"/>
                    <a:pt x="1111" y="7"/>
                  </a:cubicBezTo>
                  <a:cubicBezTo>
                    <a:pt x="1111" y="7"/>
                    <a:pt x="1111" y="7"/>
                    <a:pt x="1111" y="7"/>
                  </a:cubicBezTo>
                  <a:cubicBezTo>
                    <a:pt x="1113" y="7"/>
                    <a:pt x="1115" y="8"/>
                    <a:pt x="1117" y="8"/>
                  </a:cubicBezTo>
                  <a:cubicBezTo>
                    <a:pt x="1117" y="8"/>
                    <a:pt x="1117" y="8"/>
                    <a:pt x="1117" y="8"/>
                  </a:cubicBezTo>
                  <a:cubicBezTo>
                    <a:pt x="1119" y="9"/>
                    <a:pt x="1121" y="9"/>
                    <a:pt x="1123" y="10"/>
                  </a:cubicBezTo>
                  <a:cubicBezTo>
                    <a:pt x="1123" y="10"/>
                    <a:pt x="1123" y="10"/>
                    <a:pt x="1123" y="10"/>
                  </a:cubicBezTo>
                  <a:cubicBezTo>
                    <a:pt x="1127" y="11"/>
                    <a:pt x="1131" y="12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213" y="39"/>
                    <a:pt x="1275" y="102"/>
                    <a:pt x="1299" y="184"/>
                  </a:cubicBezTo>
                  <a:cubicBezTo>
                    <a:pt x="1299" y="184"/>
                    <a:pt x="1299" y="184"/>
                    <a:pt x="1299" y="184"/>
                  </a:cubicBezTo>
                  <a:cubicBezTo>
                    <a:pt x="1300" y="190"/>
                    <a:pt x="1302" y="196"/>
                    <a:pt x="1303" y="202"/>
                  </a:cubicBezTo>
                  <a:cubicBezTo>
                    <a:pt x="1303" y="202"/>
                    <a:pt x="1303" y="202"/>
                    <a:pt x="1303" y="202"/>
                  </a:cubicBezTo>
                  <a:cubicBezTo>
                    <a:pt x="1304" y="204"/>
                    <a:pt x="1304" y="206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5" y="210"/>
                    <a:pt x="1305" y="213"/>
                    <a:pt x="1305" y="215"/>
                  </a:cubicBezTo>
                  <a:cubicBezTo>
                    <a:pt x="1305" y="215"/>
                    <a:pt x="1305" y="215"/>
                    <a:pt x="1305" y="215"/>
                  </a:cubicBezTo>
                  <a:cubicBezTo>
                    <a:pt x="1306" y="219"/>
                    <a:pt x="1307" y="223"/>
                    <a:pt x="1307" y="228"/>
                  </a:cubicBezTo>
                  <a:cubicBezTo>
                    <a:pt x="1307" y="228"/>
                    <a:pt x="1307" y="228"/>
                    <a:pt x="1307" y="228"/>
                  </a:cubicBezTo>
                  <a:cubicBezTo>
                    <a:pt x="1307" y="230"/>
                    <a:pt x="1307" y="232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8" y="239"/>
                    <a:pt x="1308" y="243"/>
                    <a:pt x="1308" y="248"/>
                  </a:cubicBezTo>
                  <a:cubicBezTo>
                    <a:pt x="1308" y="248"/>
                    <a:pt x="1308" y="248"/>
                    <a:pt x="1308" y="248"/>
                  </a:cubicBezTo>
                  <a:cubicBezTo>
                    <a:pt x="1308" y="250"/>
                    <a:pt x="1308" y="252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7"/>
                    <a:pt x="1308" y="259"/>
                    <a:pt x="1308" y="261"/>
                  </a:cubicBezTo>
                  <a:cubicBezTo>
                    <a:pt x="1308" y="261"/>
                    <a:pt x="1308" y="261"/>
                    <a:pt x="1308" y="261"/>
                  </a:cubicBezTo>
                  <a:cubicBezTo>
                    <a:pt x="1308" y="265"/>
                    <a:pt x="1308" y="270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7" y="276"/>
                    <a:pt x="1307" y="279"/>
                    <a:pt x="1307" y="281"/>
                  </a:cubicBezTo>
                  <a:cubicBezTo>
                    <a:pt x="1307" y="281"/>
                    <a:pt x="1307" y="281"/>
                    <a:pt x="1307" y="281"/>
                  </a:cubicBezTo>
                  <a:cubicBezTo>
                    <a:pt x="1307" y="285"/>
                    <a:pt x="1306" y="289"/>
                    <a:pt x="1305" y="294"/>
                  </a:cubicBezTo>
                  <a:cubicBezTo>
                    <a:pt x="1305" y="294"/>
                    <a:pt x="1305" y="294"/>
                    <a:pt x="1305" y="294"/>
                  </a:cubicBezTo>
                  <a:cubicBezTo>
                    <a:pt x="1305" y="296"/>
                    <a:pt x="1305" y="298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4" y="302"/>
                    <a:pt x="1304" y="304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2" y="313"/>
                    <a:pt x="1300" y="319"/>
                    <a:pt x="1299" y="325"/>
                  </a:cubicBezTo>
                  <a:cubicBezTo>
                    <a:pt x="1299" y="325"/>
                    <a:pt x="1299" y="325"/>
                    <a:pt x="1299" y="325"/>
                  </a:cubicBezTo>
                  <a:cubicBezTo>
                    <a:pt x="1275" y="406"/>
                    <a:pt x="1213" y="469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131" y="496"/>
                    <a:pt x="1127" y="498"/>
                    <a:pt x="1123" y="499"/>
                  </a:cubicBezTo>
                  <a:cubicBezTo>
                    <a:pt x="1123" y="499"/>
                    <a:pt x="1123" y="499"/>
                    <a:pt x="1123" y="499"/>
                  </a:cubicBezTo>
                  <a:cubicBezTo>
                    <a:pt x="1121" y="499"/>
                    <a:pt x="1119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5" y="501"/>
                    <a:pt x="1113" y="501"/>
                    <a:pt x="1111" y="502"/>
                  </a:cubicBezTo>
                  <a:cubicBezTo>
                    <a:pt x="1111" y="502"/>
                    <a:pt x="1111" y="502"/>
                    <a:pt x="1111" y="502"/>
                  </a:cubicBezTo>
                  <a:cubicBezTo>
                    <a:pt x="1109" y="502"/>
                    <a:pt x="1107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3" y="504"/>
                    <a:pt x="1101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097" y="505"/>
                    <a:pt x="1095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1" y="506"/>
                    <a:pt x="1088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4" y="506"/>
                    <a:pt x="1082" y="507"/>
                    <a:pt x="1080" y="507"/>
                  </a:cubicBezTo>
                  <a:cubicBezTo>
                    <a:pt x="1080" y="507"/>
                    <a:pt x="1080" y="507"/>
                    <a:pt x="1080" y="507"/>
                  </a:cubicBezTo>
                  <a:cubicBezTo>
                    <a:pt x="1078" y="507"/>
                    <a:pt x="1076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2" y="508"/>
                    <a:pt x="1069" y="508"/>
                    <a:pt x="1067" y="508"/>
                  </a:cubicBezTo>
                  <a:cubicBezTo>
                    <a:pt x="1067" y="508"/>
                    <a:pt x="1067" y="508"/>
                    <a:pt x="1067" y="508"/>
                  </a:cubicBezTo>
                  <a:cubicBezTo>
                    <a:pt x="1065" y="508"/>
                    <a:pt x="1063" y="508"/>
                    <a:pt x="1061" y="508"/>
                  </a:cubicBezTo>
                  <a:cubicBezTo>
                    <a:pt x="1061" y="508"/>
                    <a:pt x="1061" y="508"/>
                    <a:pt x="1061" y="508"/>
                  </a:cubicBezTo>
                  <a:cubicBezTo>
                    <a:pt x="1059" y="508"/>
                    <a:pt x="1057" y="508"/>
                    <a:pt x="1055" y="508"/>
                  </a:cubicBezTo>
                  <a:cubicBezTo>
                    <a:pt x="1055" y="508"/>
                    <a:pt x="1055" y="508"/>
                    <a:pt x="1055" y="508"/>
                  </a:cubicBezTo>
                  <a:cubicBezTo>
                    <a:pt x="1053" y="508"/>
                    <a:pt x="1053" y="508"/>
                    <a:pt x="1053" y="508"/>
                  </a:cubicBezTo>
                  <a:cubicBezTo>
                    <a:pt x="1052" y="508"/>
                    <a:pt x="1051" y="508"/>
                    <a:pt x="1051" y="508"/>
                  </a:cubicBezTo>
                  <a:cubicBezTo>
                    <a:pt x="1050" y="508"/>
                    <a:pt x="1048" y="508"/>
                    <a:pt x="1047" y="508"/>
                  </a:cubicBezTo>
                  <a:cubicBezTo>
                    <a:pt x="1047" y="508"/>
                    <a:pt x="1047" y="508"/>
                    <a:pt x="1047" y="508"/>
                  </a:cubicBezTo>
                  <a:cubicBezTo>
                    <a:pt x="953" y="505"/>
                    <a:pt x="898" y="455"/>
                    <a:pt x="820" y="420"/>
                  </a:cubicBezTo>
                  <a:cubicBezTo>
                    <a:pt x="775" y="401"/>
                    <a:pt x="723" y="387"/>
                    <a:pt x="653" y="386"/>
                  </a:cubicBezTo>
                  <a:cubicBezTo>
                    <a:pt x="585" y="387"/>
                    <a:pt x="533" y="401"/>
                    <a:pt x="489" y="419"/>
                  </a:cubicBezTo>
                  <a:cubicBezTo>
                    <a:pt x="412" y="454"/>
                    <a:pt x="359" y="503"/>
                    <a:pt x="268" y="508"/>
                  </a:cubicBezTo>
                  <a:cubicBezTo>
                    <a:pt x="267" y="508"/>
                    <a:pt x="265" y="508"/>
                    <a:pt x="264" y="508"/>
                  </a:cubicBezTo>
                  <a:cubicBezTo>
                    <a:pt x="262" y="508"/>
                    <a:pt x="262" y="508"/>
                    <a:pt x="262" y="508"/>
                  </a:cubicBezTo>
                  <a:cubicBezTo>
                    <a:pt x="259" y="508"/>
                    <a:pt x="256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1" y="508"/>
                    <a:pt x="249" y="508"/>
                    <a:pt x="247" y="508"/>
                  </a:cubicBezTo>
                  <a:cubicBezTo>
                    <a:pt x="247" y="508"/>
                    <a:pt x="247" y="508"/>
                    <a:pt x="247" y="508"/>
                  </a:cubicBezTo>
                  <a:cubicBezTo>
                    <a:pt x="245" y="508"/>
                    <a:pt x="243" y="508"/>
                    <a:pt x="241" y="508"/>
                  </a:cubicBezTo>
                  <a:cubicBezTo>
                    <a:pt x="241" y="508"/>
                    <a:pt x="241" y="508"/>
                    <a:pt x="241" y="508"/>
                  </a:cubicBezTo>
                  <a:cubicBezTo>
                    <a:pt x="239" y="508"/>
                    <a:pt x="236" y="508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2" y="507"/>
                    <a:pt x="230" y="507"/>
                    <a:pt x="228" y="507"/>
                  </a:cubicBezTo>
                  <a:cubicBezTo>
                    <a:pt x="228" y="507"/>
                    <a:pt x="228" y="507"/>
                    <a:pt x="228" y="507"/>
                  </a:cubicBezTo>
                  <a:cubicBezTo>
                    <a:pt x="226" y="507"/>
                    <a:pt x="224" y="506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0" y="506"/>
                    <a:pt x="218" y="506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3" y="505"/>
                    <a:pt x="211" y="505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07" y="504"/>
                    <a:pt x="205" y="504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1" y="503"/>
                    <a:pt x="199" y="502"/>
                    <a:pt x="197" y="502"/>
                  </a:cubicBezTo>
                  <a:cubicBezTo>
                    <a:pt x="197" y="502"/>
                    <a:pt x="197" y="502"/>
                    <a:pt x="197" y="502"/>
                  </a:cubicBezTo>
                  <a:cubicBezTo>
                    <a:pt x="195" y="501"/>
                    <a:pt x="193" y="501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89" y="500"/>
                    <a:pt x="187" y="499"/>
                    <a:pt x="185" y="499"/>
                  </a:cubicBezTo>
                  <a:cubicBezTo>
                    <a:pt x="185" y="499"/>
                    <a:pt x="185" y="499"/>
                    <a:pt x="185" y="499"/>
                  </a:cubicBezTo>
                  <a:cubicBezTo>
                    <a:pt x="181" y="498"/>
                    <a:pt x="177" y="496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95" y="469"/>
                    <a:pt x="33" y="406"/>
                    <a:pt x="9" y="325"/>
                  </a:cubicBezTo>
                  <a:cubicBezTo>
                    <a:pt x="9" y="325"/>
                    <a:pt x="9" y="325"/>
                    <a:pt x="9" y="325"/>
                  </a:cubicBezTo>
                  <a:cubicBezTo>
                    <a:pt x="8" y="319"/>
                    <a:pt x="6" y="313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4" y="304"/>
                    <a:pt x="4" y="302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3" y="298"/>
                    <a:pt x="3" y="296"/>
                    <a:pt x="3" y="294"/>
                  </a:cubicBezTo>
                  <a:cubicBezTo>
                    <a:pt x="3" y="294"/>
                    <a:pt x="3" y="294"/>
                    <a:pt x="3" y="294"/>
                  </a:cubicBezTo>
                  <a:cubicBezTo>
                    <a:pt x="2" y="289"/>
                    <a:pt x="1" y="285"/>
                    <a:pt x="1" y="281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1" y="279"/>
                    <a:pt x="1" y="276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70"/>
                    <a:pt x="0" y="265"/>
                    <a:pt x="0" y="261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2"/>
                    <a:pt x="0" y="250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3"/>
                    <a:pt x="0" y="239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3"/>
                    <a:pt x="2" y="219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3" y="213"/>
                    <a:pt x="3" y="210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4" y="206"/>
                    <a:pt x="4" y="204"/>
                    <a:pt x="5" y="202"/>
                  </a:cubicBezTo>
                  <a:cubicBezTo>
                    <a:pt x="5" y="202"/>
                    <a:pt x="5" y="202"/>
                    <a:pt x="5" y="202"/>
                  </a:cubicBezTo>
                  <a:cubicBezTo>
                    <a:pt x="6" y="196"/>
                    <a:pt x="8" y="190"/>
                    <a:pt x="9" y="184"/>
                  </a:cubicBezTo>
                  <a:cubicBezTo>
                    <a:pt x="9" y="184"/>
                    <a:pt x="9" y="184"/>
                    <a:pt x="9" y="184"/>
                  </a:cubicBezTo>
                  <a:cubicBezTo>
                    <a:pt x="33" y="102"/>
                    <a:pt x="95" y="39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7" y="12"/>
                    <a:pt x="181" y="11"/>
                    <a:pt x="185" y="10"/>
                  </a:cubicBezTo>
                  <a:cubicBezTo>
                    <a:pt x="185" y="10"/>
                    <a:pt x="185" y="10"/>
                    <a:pt x="185" y="10"/>
                  </a:cubicBezTo>
                  <a:cubicBezTo>
                    <a:pt x="187" y="9"/>
                    <a:pt x="189" y="9"/>
                    <a:pt x="191" y="8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8"/>
                    <a:pt x="195" y="7"/>
                    <a:pt x="197" y="7"/>
                  </a:cubicBezTo>
                  <a:cubicBezTo>
                    <a:pt x="197" y="7"/>
                    <a:pt x="197" y="7"/>
                    <a:pt x="197" y="7"/>
                  </a:cubicBezTo>
                  <a:cubicBezTo>
                    <a:pt x="199" y="6"/>
                    <a:pt x="201" y="6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5" y="5"/>
                    <a:pt x="207" y="5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11" y="4"/>
                    <a:pt x="213" y="4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8" y="3"/>
                    <a:pt x="220" y="3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4" y="2"/>
                    <a:pt x="226" y="2"/>
                    <a:pt x="228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30" y="1"/>
                    <a:pt x="232" y="1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6" y="1"/>
                    <a:pt x="239" y="1"/>
                    <a:pt x="241" y="1"/>
                  </a:cubicBezTo>
                  <a:cubicBezTo>
                    <a:pt x="241" y="1"/>
                    <a:pt x="241" y="1"/>
                    <a:pt x="241" y="1"/>
                  </a:cubicBezTo>
                  <a:cubicBezTo>
                    <a:pt x="243" y="1"/>
                    <a:pt x="245" y="1"/>
                    <a:pt x="24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9" y="0"/>
                    <a:pt x="251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1"/>
                    <a:pt x="262" y="1"/>
                  </a:cubicBezTo>
                  <a:cubicBezTo>
                    <a:pt x="262" y="1"/>
                    <a:pt x="263" y="1"/>
                    <a:pt x="264" y="1"/>
                  </a:cubicBezTo>
                  <a:cubicBezTo>
                    <a:pt x="265" y="1"/>
                    <a:pt x="267" y="1"/>
                    <a:pt x="268" y="1"/>
                  </a:cubicBezTo>
                  <a:cubicBezTo>
                    <a:pt x="359" y="6"/>
                    <a:pt x="412" y="55"/>
                    <a:pt x="489" y="8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89695AB-6172-270B-7FDB-A1F08694F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9662" y="3261801"/>
              <a:ext cx="676308" cy="674708"/>
            </a:xfrm>
            <a:custGeom>
              <a:avLst/>
              <a:gdLst>
                <a:gd name="T0" fmla="*/ 86 w 483"/>
                <a:gd name="T1" fmla="*/ 397 h 483"/>
                <a:gd name="T2" fmla="*/ 397 w 483"/>
                <a:gd name="T3" fmla="*/ 397 h 483"/>
                <a:gd name="T4" fmla="*/ 397 w 483"/>
                <a:gd name="T5" fmla="*/ 86 h 483"/>
                <a:gd name="T6" fmla="*/ 86 w 483"/>
                <a:gd name="T7" fmla="*/ 86 h 483"/>
                <a:gd name="T8" fmla="*/ 86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397"/>
                  </a:move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DD10B919-710D-8D2F-5FCF-35C2AA2C9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673" y="3242615"/>
              <a:ext cx="709883" cy="1832265"/>
            </a:xfrm>
            <a:custGeom>
              <a:avLst/>
              <a:gdLst>
                <a:gd name="T0" fmla="*/ 89 w 508"/>
                <a:gd name="T1" fmla="*/ 488 h 1309"/>
                <a:gd name="T2" fmla="*/ 0 w 508"/>
                <a:gd name="T3" fmla="*/ 262 h 1309"/>
                <a:gd name="T4" fmla="*/ 0 w 508"/>
                <a:gd name="T5" fmla="*/ 254 h 1309"/>
                <a:gd name="T6" fmla="*/ 0 w 508"/>
                <a:gd name="T7" fmla="*/ 241 h 1309"/>
                <a:gd name="T8" fmla="*/ 1 w 508"/>
                <a:gd name="T9" fmla="*/ 234 h 1309"/>
                <a:gd name="T10" fmla="*/ 2 w 508"/>
                <a:gd name="T11" fmla="*/ 222 h 1309"/>
                <a:gd name="T12" fmla="*/ 3 w 508"/>
                <a:gd name="T13" fmla="*/ 216 h 1309"/>
                <a:gd name="T14" fmla="*/ 5 w 508"/>
                <a:gd name="T15" fmla="*/ 203 h 1309"/>
                <a:gd name="T16" fmla="*/ 7 w 508"/>
                <a:gd name="T17" fmla="*/ 197 h 1309"/>
                <a:gd name="T18" fmla="*/ 9 w 508"/>
                <a:gd name="T19" fmla="*/ 185 h 1309"/>
                <a:gd name="T20" fmla="*/ 13 w 508"/>
                <a:gd name="T21" fmla="*/ 173 h 1309"/>
                <a:gd name="T22" fmla="*/ 202 w 508"/>
                <a:gd name="T23" fmla="*/ 5 h 1309"/>
                <a:gd name="T24" fmla="*/ 208 w 508"/>
                <a:gd name="T25" fmla="*/ 4 h 1309"/>
                <a:gd name="T26" fmla="*/ 227 w 508"/>
                <a:gd name="T27" fmla="*/ 1 h 1309"/>
                <a:gd name="T28" fmla="*/ 234 w 508"/>
                <a:gd name="T29" fmla="*/ 0 h 1309"/>
                <a:gd name="T30" fmla="*/ 254 w 508"/>
                <a:gd name="T31" fmla="*/ 0 h 1309"/>
                <a:gd name="T32" fmla="*/ 261 w 508"/>
                <a:gd name="T33" fmla="*/ 0 h 1309"/>
                <a:gd name="T34" fmla="*/ 281 w 508"/>
                <a:gd name="T35" fmla="*/ 1 h 1309"/>
                <a:gd name="T36" fmla="*/ 294 w 508"/>
                <a:gd name="T37" fmla="*/ 3 h 1309"/>
                <a:gd name="T38" fmla="*/ 306 w 508"/>
                <a:gd name="T39" fmla="*/ 5 h 1309"/>
                <a:gd name="T40" fmla="*/ 325 w 508"/>
                <a:gd name="T41" fmla="*/ 10 h 1309"/>
                <a:gd name="T42" fmla="*/ 498 w 508"/>
                <a:gd name="T43" fmla="*/ 185 h 1309"/>
                <a:gd name="T44" fmla="*/ 500 w 508"/>
                <a:gd name="T45" fmla="*/ 191 h 1309"/>
                <a:gd name="T46" fmla="*/ 503 w 508"/>
                <a:gd name="T47" fmla="*/ 203 h 1309"/>
                <a:gd name="T48" fmla="*/ 504 w 508"/>
                <a:gd name="T49" fmla="*/ 209 h 1309"/>
                <a:gd name="T50" fmla="*/ 506 w 508"/>
                <a:gd name="T51" fmla="*/ 222 h 1309"/>
                <a:gd name="T52" fmla="*/ 507 w 508"/>
                <a:gd name="T53" fmla="*/ 228 h 1309"/>
                <a:gd name="T54" fmla="*/ 508 w 508"/>
                <a:gd name="T55" fmla="*/ 241 h 1309"/>
                <a:gd name="T56" fmla="*/ 508 w 508"/>
                <a:gd name="T57" fmla="*/ 247 h 1309"/>
                <a:gd name="T58" fmla="*/ 508 w 508"/>
                <a:gd name="T59" fmla="*/ 255 h 1309"/>
                <a:gd name="T60" fmla="*/ 508 w 508"/>
                <a:gd name="T61" fmla="*/ 261 h 1309"/>
                <a:gd name="T62" fmla="*/ 419 w 508"/>
                <a:gd name="T63" fmla="*/ 819 h 1309"/>
                <a:gd name="T64" fmla="*/ 508 w 508"/>
                <a:gd name="T65" fmla="*/ 1047 h 1309"/>
                <a:gd name="T66" fmla="*/ 508 w 508"/>
                <a:gd name="T67" fmla="*/ 1055 h 1309"/>
                <a:gd name="T68" fmla="*/ 508 w 508"/>
                <a:gd name="T69" fmla="*/ 1067 h 1309"/>
                <a:gd name="T70" fmla="*/ 507 w 508"/>
                <a:gd name="T71" fmla="*/ 1074 h 1309"/>
                <a:gd name="T72" fmla="*/ 506 w 508"/>
                <a:gd name="T73" fmla="*/ 1086 h 1309"/>
                <a:gd name="T74" fmla="*/ 505 w 508"/>
                <a:gd name="T75" fmla="*/ 1093 h 1309"/>
                <a:gd name="T76" fmla="*/ 503 w 508"/>
                <a:gd name="T77" fmla="*/ 1105 h 1309"/>
                <a:gd name="T78" fmla="*/ 502 w 508"/>
                <a:gd name="T79" fmla="*/ 1111 h 1309"/>
                <a:gd name="T80" fmla="*/ 498 w 508"/>
                <a:gd name="T81" fmla="*/ 1123 h 1309"/>
                <a:gd name="T82" fmla="*/ 495 w 508"/>
                <a:gd name="T83" fmla="*/ 1135 h 1309"/>
                <a:gd name="T84" fmla="*/ 306 w 508"/>
                <a:gd name="T85" fmla="*/ 1303 h 1309"/>
                <a:gd name="T86" fmla="*/ 300 w 508"/>
                <a:gd name="T87" fmla="*/ 1305 h 1309"/>
                <a:gd name="T88" fmla="*/ 281 w 508"/>
                <a:gd name="T89" fmla="*/ 1307 h 1309"/>
                <a:gd name="T90" fmla="*/ 274 w 508"/>
                <a:gd name="T91" fmla="*/ 1308 h 1309"/>
                <a:gd name="T92" fmla="*/ 254 w 508"/>
                <a:gd name="T93" fmla="*/ 1309 h 1309"/>
                <a:gd name="T94" fmla="*/ 247 w 508"/>
                <a:gd name="T95" fmla="*/ 1309 h 1309"/>
                <a:gd name="T96" fmla="*/ 227 w 508"/>
                <a:gd name="T97" fmla="*/ 1307 h 1309"/>
                <a:gd name="T98" fmla="*/ 215 w 508"/>
                <a:gd name="T99" fmla="*/ 1306 h 1309"/>
                <a:gd name="T100" fmla="*/ 202 w 508"/>
                <a:gd name="T101" fmla="*/ 1303 h 1309"/>
                <a:gd name="T102" fmla="*/ 183 w 508"/>
                <a:gd name="T103" fmla="*/ 1299 h 1309"/>
                <a:gd name="T104" fmla="*/ 9 w 508"/>
                <a:gd name="T105" fmla="*/ 1123 h 1309"/>
                <a:gd name="T106" fmla="*/ 8 w 508"/>
                <a:gd name="T107" fmla="*/ 1117 h 1309"/>
                <a:gd name="T108" fmla="*/ 5 w 508"/>
                <a:gd name="T109" fmla="*/ 1105 h 1309"/>
                <a:gd name="T110" fmla="*/ 4 w 508"/>
                <a:gd name="T111" fmla="*/ 1099 h 1309"/>
                <a:gd name="T112" fmla="*/ 2 w 508"/>
                <a:gd name="T113" fmla="*/ 1086 h 1309"/>
                <a:gd name="T114" fmla="*/ 1 w 508"/>
                <a:gd name="T115" fmla="*/ 1080 h 1309"/>
                <a:gd name="T116" fmla="*/ 0 w 508"/>
                <a:gd name="T117" fmla="*/ 1067 h 1309"/>
                <a:gd name="T118" fmla="*/ 0 w 508"/>
                <a:gd name="T119" fmla="*/ 1061 h 1309"/>
                <a:gd name="T120" fmla="*/ 0 w 508"/>
                <a:gd name="T121" fmla="*/ 1055 h 1309"/>
                <a:gd name="T122" fmla="*/ 1 w 508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8" h="1309">
                  <a:moveTo>
                    <a:pt x="89" y="819"/>
                  </a:moveTo>
                  <a:cubicBezTo>
                    <a:pt x="107" y="775"/>
                    <a:pt x="121" y="724"/>
                    <a:pt x="122" y="656"/>
                  </a:cubicBezTo>
                  <a:cubicBezTo>
                    <a:pt x="122" y="586"/>
                    <a:pt x="107" y="533"/>
                    <a:pt x="89" y="488"/>
                  </a:cubicBezTo>
                  <a:cubicBezTo>
                    <a:pt x="54" y="412"/>
                    <a:pt x="6" y="358"/>
                    <a:pt x="1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" y="239"/>
                    <a:pt x="1" y="237"/>
                    <a:pt x="1" y="234"/>
                  </a:cubicBezTo>
                  <a:cubicBezTo>
                    <a:pt x="1" y="234"/>
                    <a:pt x="1" y="234"/>
                    <a:pt x="1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2" y="226"/>
                    <a:pt x="2" y="224"/>
                    <a:pt x="2" y="222"/>
                  </a:cubicBezTo>
                  <a:cubicBezTo>
                    <a:pt x="2" y="222"/>
                    <a:pt x="2" y="222"/>
                    <a:pt x="2" y="222"/>
                  </a:cubicBezTo>
                  <a:cubicBezTo>
                    <a:pt x="2" y="220"/>
                    <a:pt x="3" y="218"/>
                    <a:pt x="3" y="216"/>
                  </a:cubicBezTo>
                  <a:cubicBezTo>
                    <a:pt x="3" y="216"/>
                    <a:pt x="3" y="216"/>
                    <a:pt x="3" y="216"/>
                  </a:cubicBezTo>
                  <a:cubicBezTo>
                    <a:pt x="3" y="214"/>
                    <a:pt x="4" y="212"/>
                    <a:pt x="4" y="209"/>
                  </a:cubicBezTo>
                  <a:cubicBezTo>
                    <a:pt x="4" y="209"/>
                    <a:pt x="4" y="209"/>
                    <a:pt x="4" y="209"/>
                  </a:cubicBezTo>
                  <a:cubicBezTo>
                    <a:pt x="4" y="207"/>
                    <a:pt x="5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6" y="201"/>
                    <a:pt x="6" y="199"/>
                    <a:pt x="7" y="197"/>
                  </a:cubicBezTo>
                  <a:cubicBezTo>
                    <a:pt x="7" y="197"/>
                    <a:pt x="7" y="197"/>
                    <a:pt x="7" y="197"/>
                  </a:cubicBezTo>
                  <a:cubicBezTo>
                    <a:pt x="7" y="195"/>
                    <a:pt x="7" y="193"/>
                    <a:pt x="8" y="191"/>
                  </a:cubicBezTo>
                  <a:cubicBezTo>
                    <a:pt x="8" y="191"/>
                    <a:pt x="8" y="191"/>
                    <a:pt x="8" y="191"/>
                  </a:cubicBezTo>
                  <a:cubicBezTo>
                    <a:pt x="8" y="189"/>
                    <a:pt x="9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1" y="181"/>
                    <a:pt x="12" y="177"/>
                    <a:pt x="13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9" y="95"/>
                    <a:pt x="102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6" y="6"/>
                    <a:pt x="202" y="5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4" y="5"/>
                    <a:pt x="206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9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30" y="1"/>
                    <a:pt x="232" y="1"/>
                    <a:pt x="234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3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0" y="0"/>
                    <a:pt x="252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0"/>
                    <a:pt x="26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5" y="0"/>
                    <a:pt x="270" y="0"/>
                    <a:pt x="27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1"/>
                    <a:pt x="278" y="1"/>
                    <a:pt x="281" y="1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5" y="2"/>
                    <a:pt x="289" y="2"/>
                    <a:pt x="294" y="3"/>
                  </a:cubicBezTo>
                  <a:cubicBezTo>
                    <a:pt x="294" y="3"/>
                    <a:pt x="294" y="3"/>
                    <a:pt x="294" y="3"/>
                  </a:cubicBezTo>
                  <a:cubicBezTo>
                    <a:pt x="296" y="3"/>
                    <a:pt x="298" y="3"/>
                    <a:pt x="300" y="4"/>
                  </a:cubicBezTo>
                  <a:cubicBezTo>
                    <a:pt x="300" y="4"/>
                    <a:pt x="300" y="4"/>
                    <a:pt x="300" y="4"/>
                  </a:cubicBezTo>
                  <a:cubicBezTo>
                    <a:pt x="302" y="4"/>
                    <a:pt x="304" y="5"/>
                    <a:pt x="306" y="5"/>
                  </a:cubicBezTo>
                  <a:cubicBezTo>
                    <a:pt x="306" y="5"/>
                    <a:pt x="306" y="5"/>
                    <a:pt x="306" y="5"/>
                  </a:cubicBezTo>
                  <a:cubicBezTo>
                    <a:pt x="312" y="6"/>
                    <a:pt x="319" y="8"/>
                    <a:pt x="325" y="10"/>
                  </a:cubicBezTo>
                  <a:cubicBezTo>
                    <a:pt x="325" y="10"/>
                    <a:pt x="325" y="10"/>
                    <a:pt x="325" y="10"/>
                  </a:cubicBezTo>
                  <a:cubicBezTo>
                    <a:pt x="406" y="33"/>
                    <a:pt x="469" y="95"/>
                    <a:pt x="495" y="173"/>
                  </a:cubicBezTo>
                  <a:cubicBezTo>
                    <a:pt x="495" y="173"/>
                    <a:pt x="495" y="173"/>
                    <a:pt x="495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9" y="187"/>
                    <a:pt x="500" y="189"/>
                    <a:pt x="500" y="191"/>
                  </a:cubicBezTo>
                  <a:cubicBezTo>
                    <a:pt x="500" y="191"/>
                    <a:pt x="500" y="191"/>
                    <a:pt x="500" y="191"/>
                  </a:cubicBezTo>
                  <a:cubicBezTo>
                    <a:pt x="501" y="193"/>
                    <a:pt x="501" y="195"/>
                    <a:pt x="502" y="197"/>
                  </a:cubicBezTo>
                  <a:cubicBezTo>
                    <a:pt x="502" y="197"/>
                    <a:pt x="502" y="197"/>
                    <a:pt x="502" y="197"/>
                  </a:cubicBezTo>
                  <a:cubicBezTo>
                    <a:pt x="502" y="199"/>
                    <a:pt x="502" y="201"/>
                    <a:pt x="503" y="203"/>
                  </a:cubicBezTo>
                  <a:cubicBezTo>
                    <a:pt x="503" y="203"/>
                    <a:pt x="503" y="203"/>
                    <a:pt x="503" y="203"/>
                  </a:cubicBezTo>
                  <a:cubicBezTo>
                    <a:pt x="503" y="205"/>
                    <a:pt x="504" y="207"/>
                    <a:pt x="504" y="209"/>
                  </a:cubicBezTo>
                  <a:cubicBezTo>
                    <a:pt x="504" y="209"/>
                    <a:pt x="504" y="209"/>
                    <a:pt x="504" y="209"/>
                  </a:cubicBezTo>
                  <a:cubicBezTo>
                    <a:pt x="504" y="212"/>
                    <a:pt x="505" y="214"/>
                    <a:pt x="505" y="216"/>
                  </a:cubicBezTo>
                  <a:cubicBezTo>
                    <a:pt x="505" y="216"/>
                    <a:pt x="505" y="216"/>
                    <a:pt x="505" y="216"/>
                  </a:cubicBezTo>
                  <a:cubicBezTo>
                    <a:pt x="505" y="218"/>
                    <a:pt x="506" y="220"/>
                    <a:pt x="506" y="222"/>
                  </a:cubicBezTo>
                  <a:cubicBezTo>
                    <a:pt x="506" y="222"/>
                    <a:pt x="506" y="222"/>
                    <a:pt x="506" y="222"/>
                  </a:cubicBezTo>
                  <a:cubicBezTo>
                    <a:pt x="506" y="224"/>
                    <a:pt x="506" y="226"/>
                    <a:pt x="507" y="228"/>
                  </a:cubicBezTo>
                  <a:cubicBezTo>
                    <a:pt x="507" y="228"/>
                    <a:pt x="507" y="228"/>
                    <a:pt x="507" y="228"/>
                  </a:cubicBezTo>
                  <a:cubicBezTo>
                    <a:pt x="507" y="230"/>
                    <a:pt x="507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8" y="239"/>
                    <a:pt x="508" y="241"/>
                  </a:cubicBezTo>
                  <a:cubicBezTo>
                    <a:pt x="508" y="241"/>
                    <a:pt x="508" y="241"/>
                    <a:pt x="508" y="241"/>
                  </a:cubicBezTo>
                  <a:cubicBezTo>
                    <a:pt x="508" y="243"/>
                    <a:pt x="508" y="245"/>
                    <a:pt x="508" y="247"/>
                  </a:cubicBezTo>
                  <a:cubicBezTo>
                    <a:pt x="508" y="247"/>
                    <a:pt x="508" y="247"/>
                    <a:pt x="508" y="247"/>
                  </a:cubicBezTo>
                  <a:cubicBezTo>
                    <a:pt x="508" y="249"/>
                    <a:pt x="508" y="251"/>
                    <a:pt x="508" y="254"/>
                  </a:cubicBezTo>
                  <a:cubicBezTo>
                    <a:pt x="508" y="254"/>
                    <a:pt x="508" y="254"/>
                    <a:pt x="508" y="254"/>
                  </a:cubicBezTo>
                  <a:cubicBezTo>
                    <a:pt x="508" y="255"/>
                    <a:pt x="508" y="255"/>
                    <a:pt x="508" y="255"/>
                  </a:cubicBezTo>
                  <a:cubicBezTo>
                    <a:pt x="508" y="256"/>
                    <a:pt x="508" y="257"/>
                    <a:pt x="508" y="258"/>
                  </a:cubicBezTo>
                  <a:cubicBezTo>
                    <a:pt x="508" y="259"/>
                    <a:pt x="508" y="260"/>
                    <a:pt x="508" y="261"/>
                  </a:cubicBezTo>
                  <a:cubicBezTo>
                    <a:pt x="508" y="261"/>
                    <a:pt x="508" y="261"/>
                    <a:pt x="508" y="261"/>
                  </a:cubicBezTo>
                  <a:cubicBezTo>
                    <a:pt x="505" y="355"/>
                    <a:pt x="455" y="410"/>
                    <a:pt x="419" y="488"/>
                  </a:cubicBezTo>
                  <a:cubicBezTo>
                    <a:pt x="401" y="533"/>
                    <a:pt x="387" y="586"/>
                    <a:pt x="386" y="656"/>
                  </a:cubicBezTo>
                  <a:cubicBezTo>
                    <a:pt x="387" y="723"/>
                    <a:pt x="401" y="775"/>
                    <a:pt x="419" y="819"/>
                  </a:cubicBezTo>
                  <a:cubicBezTo>
                    <a:pt x="453" y="896"/>
                    <a:pt x="502" y="950"/>
                    <a:pt x="508" y="1040"/>
                  </a:cubicBezTo>
                  <a:cubicBezTo>
                    <a:pt x="508" y="1041"/>
                    <a:pt x="508" y="1043"/>
                    <a:pt x="508" y="1044"/>
                  </a:cubicBezTo>
                  <a:cubicBezTo>
                    <a:pt x="508" y="1047"/>
                    <a:pt x="508" y="1047"/>
                    <a:pt x="508" y="1047"/>
                  </a:cubicBezTo>
                  <a:cubicBezTo>
                    <a:pt x="508" y="1049"/>
                    <a:pt x="508" y="1052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7"/>
                    <a:pt x="508" y="1059"/>
                    <a:pt x="508" y="1061"/>
                  </a:cubicBezTo>
                  <a:cubicBezTo>
                    <a:pt x="508" y="1061"/>
                    <a:pt x="508" y="1061"/>
                    <a:pt x="508" y="1061"/>
                  </a:cubicBezTo>
                  <a:cubicBezTo>
                    <a:pt x="508" y="1063"/>
                    <a:pt x="508" y="1065"/>
                    <a:pt x="508" y="1067"/>
                  </a:cubicBezTo>
                  <a:cubicBezTo>
                    <a:pt x="508" y="1067"/>
                    <a:pt x="508" y="1067"/>
                    <a:pt x="508" y="1067"/>
                  </a:cubicBezTo>
                  <a:cubicBezTo>
                    <a:pt x="508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7" y="1076"/>
                    <a:pt x="507" y="1078"/>
                    <a:pt x="507" y="1080"/>
                  </a:cubicBezTo>
                  <a:cubicBezTo>
                    <a:pt x="507" y="1080"/>
                    <a:pt x="507" y="1080"/>
                    <a:pt x="507" y="1080"/>
                  </a:cubicBezTo>
                  <a:cubicBezTo>
                    <a:pt x="506" y="1082"/>
                    <a:pt x="506" y="1084"/>
                    <a:pt x="506" y="1086"/>
                  </a:cubicBezTo>
                  <a:cubicBezTo>
                    <a:pt x="506" y="1086"/>
                    <a:pt x="506" y="1086"/>
                    <a:pt x="506" y="1086"/>
                  </a:cubicBezTo>
                  <a:cubicBezTo>
                    <a:pt x="506" y="1089"/>
                    <a:pt x="505" y="1091"/>
                    <a:pt x="505" y="1093"/>
                  </a:cubicBezTo>
                  <a:cubicBezTo>
                    <a:pt x="505" y="1093"/>
                    <a:pt x="505" y="1093"/>
                    <a:pt x="505" y="1093"/>
                  </a:cubicBezTo>
                  <a:cubicBezTo>
                    <a:pt x="505" y="1095"/>
                    <a:pt x="504" y="1097"/>
                    <a:pt x="504" y="1099"/>
                  </a:cubicBezTo>
                  <a:cubicBezTo>
                    <a:pt x="504" y="1099"/>
                    <a:pt x="504" y="1099"/>
                    <a:pt x="504" y="1099"/>
                  </a:cubicBezTo>
                  <a:cubicBezTo>
                    <a:pt x="504" y="1101"/>
                    <a:pt x="503" y="1103"/>
                    <a:pt x="503" y="1105"/>
                  </a:cubicBezTo>
                  <a:cubicBezTo>
                    <a:pt x="503" y="1105"/>
                    <a:pt x="503" y="1105"/>
                    <a:pt x="503" y="1105"/>
                  </a:cubicBezTo>
                  <a:cubicBezTo>
                    <a:pt x="502" y="1107"/>
                    <a:pt x="502" y="1109"/>
                    <a:pt x="502" y="1111"/>
                  </a:cubicBezTo>
                  <a:cubicBezTo>
                    <a:pt x="502" y="1111"/>
                    <a:pt x="502" y="1111"/>
                    <a:pt x="502" y="1111"/>
                  </a:cubicBezTo>
                  <a:cubicBezTo>
                    <a:pt x="501" y="1113"/>
                    <a:pt x="501" y="1115"/>
                    <a:pt x="500" y="1117"/>
                  </a:cubicBezTo>
                  <a:cubicBezTo>
                    <a:pt x="500" y="1117"/>
                    <a:pt x="500" y="1117"/>
                    <a:pt x="500" y="1117"/>
                  </a:cubicBezTo>
                  <a:cubicBezTo>
                    <a:pt x="500" y="1119"/>
                    <a:pt x="499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5" y="1135"/>
                  </a:cubicBezTo>
                  <a:cubicBezTo>
                    <a:pt x="495" y="1135"/>
                    <a:pt x="495" y="1135"/>
                    <a:pt x="495" y="1135"/>
                  </a:cubicBezTo>
                  <a:cubicBezTo>
                    <a:pt x="469" y="1213"/>
                    <a:pt x="406" y="1276"/>
                    <a:pt x="325" y="1299"/>
                  </a:cubicBezTo>
                  <a:cubicBezTo>
                    <a:pt x="325" y="1299"/>
                    <a:pt x="325" y="1299"/>
                    <a:pt x="325" y="1299"/>
                  </a:cubicBezTo>
                  <a:cubicBezTo>
                    <a:pt x="319" y="1301"/>
                    <a:pt x="312" y="1302"/>
                    <a:pt x="306" y="1303"/>
                  </a:cubicBezTo>
                  <a:cubicBezTo>
                    <a:pt x="306" y="1303"/>
                    <a:pt x="306" y="1303"/>
                    <a:pt x="306" y="1303"/>
                  </a:cubicBezTo>
                  <a:cubicBezTo>
                    <a:pt x="304" y="1304"/>
                    <a:pt x="302" y="1304"/>
                    <a:pt x="300" y="1305"/>
                  </a:cubicBezTo>
                  <a:cubicBezTo>
                    <a:pt x="300" y="1305"/>
                    <a:pt x="300" y="1305"/>
                    <a:pt x="300" y="1305"/>
                  </a:cubicBezTo>
                  <a:cubicBezTo>
                    <a:pt x="298" y="1305"/>
                    <a:pt x="296" y="1305"/>
                    <a:pt x="294" y="1306"/>
                  </a:cubicBezTo>
                  <a:cubicBezTo>
                    <a:pt x="294" y="1306"/>
                    <a:pt x="294" y="1306"/>
                    <a:pt x="294" y="1306"/>
                  </a:cubicBezTo>
                  <a:cubicBezTo>
                    <a:pt x="289" y="1306"/>
                    <a:pt x="285" y="1307"/>
                    <a:pt x="281" y="1307"/>
                  </a:cubicBezTo>
                  <a:cubicBezTo>
                    <a:pt x="281" y="1307"/>
                    <a:pt x="281" y="1307"/>
                    <a:pt x="281" y="1307"/>
                  </a:cubicBezTo>
                  <a:cubicBezTo>
                    <a:pt x="278" y="1308"/>
                    <a:pt x="276" y="1308"/>
                    <a:pt x="274" y="1308"/>
                  </a:cubicBezTo>
                  <a:cubicBezTo>
                    <a:pt x="274" y="1308"/>
                    <a:pt x="274" y="1308"/>
                    <a:pt x="274" y="1308"/>
                  </a:cubicBezTo>
                  <a:cubicBezTo>
                    <a:pt x="270" y="1308"/>
                    <a:pt x="265" y="1308"/>
                    <a:pt x="261" y="1309"/>
                  </a:cubicBezTo>
                  <a:cubicBezTo>
                    <a:pt x="261" y="1309"/>
                    <a:pt x="261" y="1309"/>
                    <a:pt x="261" y="1309"/>
                  </a:cubicBezTo>
                  <a:cubicBezTo>
                    <a:pt x="259" y="1309"/>
                    <a:pt x="256" y="1309"/>
                    <a:pt x="254" y="1309"/>
                  </a:cubicBezTo>
                  <a:cubicBezTo>
                    <a:pt x="254" y="1309"/>
                    <a:pt x="254" y="1309"/>
                    <a:pt x="254" y="1309"/>
                  </a:cubicBezTo>
                  <a:cubicBezTo>
                    <a:pt x="252" y="1309"/>
                    <a:pt x="250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3" y="1308"/>
                    <a:pt x="238" y="1308"/>
                    <a:pt x="234" y="1308"/>
                  </a:cubicBezTo>
                  <a:cubicBezTo>
                    <a:pt x="234" y="1308"/>
                    <a:pt x="234" y="1308"/>
                    <a:pt x="234" y="1308"/>
                  </a:cubicBezTo>
                  <a:cubicBezTo>
                    <a:pt x="232" y="1308"/>
                    <a:pt x="230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9" y="1306"/>
                    <a:pt x="215" y="1306"/>
                  </a:cubicBezTo>
                  <a:cubicBezTo>
                    <a:pt x="215" y="1306"/>
                    <a:pt x="215" y="1306"/>
                    <a:pt x="215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6" y="1304"/>
                    <a:pt x="204" y="1304"/>
                    <a:pt x="202" y="1303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196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2" y="1276"/>
                    <a:pt x="39" y="1213"/>
                    <a:pt x="13" y="1135"/>
                  </a:cubicBezTo>
                  <a:cubicBezTo>
                    <a:pt x="13" y="1135"/>
                    <a:pt x="13" y="1135"/>
                    <a:pt x="13" y="1135"/>
                  </a:cubicBezTo>
                  <a:cubicBezTo>
                    <a:pt x="12" y="1131"/>
                    <a:pt x="11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9" y="1121"/>
                    <a:pt x="8" y="1119"/>
                    <a:pt x="8" y="1117"/>
                  </a:cubicBezTo>
                  <a:cubicBezTo>
                    <a:pt x="8" y="1117"/>
                    <a:pt x="8" y="1117"/>
                    <a:pt x="8" y="1117"/>
                  </a:cubicBezTo>
                  <a:cubicBezTo>
                    <a:pt x="7" y="1115"/>
                    <a:pt x="7" y="1113"/>
                    <a:pt x="7" y="1111"/>
                  </a:cubicBezTo>
                  <a:cubicBezTo>
                    <a:pt x="7" y="1111"/>
                    <a:pt x="7" y="1111"/>
                    <a:pt x="7" y="1111"/>
                  </a:cubicBezTo>
                  <a:cubicBezTo>
                    <a:pt x="6" y="1109"/>
                    <a:pt x="6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5" y="1103"/>
                    <a:pt x="4" y="1101"/>
                    <a:pt x="4" y="1099"/>
                  </a:cubicBezTo>
                  <a:cubicBezTo>
                    <a:pt x="4" y="1099"/>
                    <a:pt x="4" y="1099"/>
                    <a:pt x="4" y="1099"/>
                  </a:cubicBezTo>
                  <a:cubicBezTo>
                    <a:pt x="4" y="1097"/>
                    <a:pt x="3" y="1095"/>
                    <a:pt x="3" y="1093"/>
                  </a:cubicBezTo>
                  <a:cubicBezTo>
                    <a:pt x="3" y="1093"/>
                    <a:pt x="3" y="1093"/>
                    <a:pt x="3" y="1093"/>
                  </a:cubicBezTo>
                  <a:cubicBezTo>
                    <a:pt x="3" y="1091"/>
                    <a:pt x="2" y="1089"/>
                    <a:pt x="2" y="1086"/>
                  </a:cubicBezTo>
                  <a:cubicBezTo>
                    <a:pt x="2" y="1086"/>
                    <a:pt x="2" y="1086"/>
                    <a:pt x="2" y="1086"/>
                  </a:cubicBezTo>
                  <a:cubicBezTo>
                    <a:pt x="2" y="1084"/>
                    <a:pt x="2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1" y="1076"/>
                    <a:pt x="1" y="1074"/>
                  </a:cubicBezTo>
                  <a:cubicBezTo>
                    <a:pt x="1" y="1074"/>
                    <a:pt x="1" y="1074"/>
                    <a:pt x="1" y="1074"/>
                  </a:cubicBezTo>
                  <a:cubicBezTo>
                    <a:pt x="1" y="1072"/>
                    <a:pt x="1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1" y="1040"/>
                  </a:cubicBezTo>
                  <a:cubicBezTo>
                    <a:pt x="6" y="950"/>
                    <a:pt x="55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666A8CC2-6802-0256-21B2-694251CDB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2438400"/>
              <a:ext cx="1531684" cy="1531684"/>
            </a:xfrm>
            <a:custGeom>
              <a:avLst/>
              <a:gdLst>
                <a:gd name="T0" fmla="*/ 547 w 1095"/>
                <a:gd name="T1" fmla="*/ 781 h 1094"/>
                <a:gd name="T2" fmla="*/ 449 w 1095"/>
                <a:gd name="T3" fmla="*/ 1004 h 1094"/>
                <a:gd name="T4" fmla="*/ 444 w 1095"/>
                <a:gd name="T5" fmla="*/ 1010 h 1094"/>
                <a:gd name="T6" fmla="*/ 434 w 1095"/>
                <a:gd name="T7" fmla="*/ 1019 h 1094"/>
                <a:gd name="T8" fmla="*/ 430 w 1095"/>
                <a:gd name="T9" fmla="*/ 1023 h 1094"/>
                <a:gd name="T10" fmla="*/ 420 w 1095"/>
                <a:gd name="T11" fmla="*/ 1031 h 1094"/>
                <a:gd name="T12" fmla="*/ 415 w 1095"/>
                <a:gd name="T13" fmla="*/ 1035 h 1094"/>
                <a:gd name="T14" fmla="*/ 405 w 1095"/>
                <a:gd name="T15" fmla="*/ 1042 h 1094"/>
                <a:gd name="T16" fmla="*/ 399 w 1095"/>
                <a:gd name="T17" fmla="*/ 1045 h 1094"/>
                <a:gd name="T18" fmla="*/ 389 w 1095"/>
                <a:gd name="T19" fmla="*/ 1051 h 1094"/>
                <a:gd name="T20" fmla="*/ 378 w 1095"/>
                <a:gd name="T21" fmla="*/ 1057 h 1094"/>
                <a:gd name="T22" fmla="*/ 125 w 1095"/>
                <a:gd name="T23" fmla="*/ 1043 h 1094"/>
                <a:gd name="T24" fmla="*/ 120 w 1095"/>
                <a:gd name="T25" fmla="*/ 1039 h 1094"/>
                <a:gd name="T26" fmla="*/ 104 w 1095"/>
                <a:gd name="T27" fmla="*/ 1027 h 1094"/>
                <a:gd name="T28" fmla="*/ 99 w 1095"/>
                <a:gd name="T29" fmla="*/ 1023 h 1094"/>
                <a:gd name="T30" fmla="*/ 85 w 1095"/>
                <a:gd name="T31" fmla="*/ 1010 h 1094"/>
                <a:gd name="T32" fmla="*/ 80 w 1095"/>
                <a:gd name="T33" fmla="*/ 1005 h 1094"/>
                <a:gd name="T34" fmla="*/ 67 w 1095"/>
                <a:gd name="T35" fmla="*/ 990 h 1094"/>
                <a:gd name="T36" fmla="*/ 59 w 1095"/>
                <a:gd name="T37" fmla="*/ 980 h 1094"/>
                <a:gd name="T38" fmla="*/ 52 w 1095"/>
                <a:gd name="T39" fmla="*/ 969 h 1094"/>
                <a:gd name="T40" fmla="*/ 42 w 1095"/>
                <a:gd name="T41" fmla="*/ 953 h 1094"/>
                <a:gd name="T42" fmla="*/ 43 w 1095"/>
                <a:gd name="T43" fmla="*/ 706 h 1094"/>
                <a:gd name="T44" fmla="*/ 46 w 1095"/>
                <a:gd name="T45" fmla="*/ 700 h 1094"/>
                <a:gd name="T46" fmla="*/ 53 w 1095"/>
                <a:gd name="T47" fmla="*/ 690 h 1094"/>
                <a:gd name="T48" fmla="*/ 56 w 1095"/>
                <a:gd name="T49" fmla="*/ 685 h 1094"/>
                <a:gd name="T50" fmla="*/ 64 w 1095"/>
                <a:gd name="T51" fmla="*/ 675 h 1094"/>
                <a:gd name="T52" fmla="*/ 68 w 1095"/>
                <a:gd name="T53" fmla="*/ 670 h 1094"/>
                <a:gd name="T54" fmla="*/ 76 w 1095"/>
                <a:gd name="T55" fmla="*/ 660 h 1094"/>
                <a:gd name="T56" fmla="*/ 80 w 1095"/>
                <a:gd name="T57" fmla="*/ 655 h 1094"/>
                <a:gd name="T58" fmla="*/ 86 w 1095"/>
                <a:gd name="T59" fmla="*/ 650 h 1094"/>
                <a:gd name="T60" fmla="*/ 90 w 1095"/>
                <a:gd name="T61" fmla="*/ 646 h 1094"/>
                <a:gd name="T62" fmla="*/ 547 w 1095"/>
                <a:gd name="T63" fmla="*/ 314 h 1094"/>
                <a:gd name="T64" fmla="*/ 645 w 1095"/>
                <a:gd name="T65" fmla="*/ 90 h 1094"/>
                <a:gd name="T66" fmla="*/ 651 w 1095"/>
                <a:gd name="T67" fmla="*/ 84 h 1094"/>
                <a:gd name="T68" fmla="*/ 660 w 1095"/>
                <a:gd name="T69" fmla="*/ 75 h 1094"/>
                <a:gd name="T70" fmla="*/ 665 w 1095"/>
                <a:gd name="T71" fmla="*/ 71 h 1094"/>
                <a:gd name="T72" fmla="*/ 675 w 1095"/>
                <a:gd name="T73" fmla="*/ 63 h 1094"/>
                <a:gd name="T74" fmla="*/ 680 w 1095"/>
                <a:gd name="T75" fmla="*/ 59 h 1094"/>
                <a:gd name="T76" fmla="*/ 690 w 1095"/>
                <a:gd name="T77" fmla="*/ 52 h 1094"/>
                <a:gd name="T78" fmla="*/ 695 w 1095"/>
                <a:gd name="T79" fmla="*/ 49 h 1094"/>
                <a:gd name="T80" fmla="*/ 706 w 1095"/>
                <a:gd name="T81" fmla="*/ 42 h 1094"/>
                <a:gd name="T82" fmla="*/ 717 w 1095"/>
                <a:gd name="T83" fmla="*/ 37 h 1094"/>
                <a:gd name="T84" fmla="*/ 970 w 1095"/>
                <a:gd name="T85" fmla="*/ 51 h 1094"/>
                <a:gd name="T86" fmla="*/ 975 w 1095"/>
                <a:gd name="T87" fmla="*/ 55 h 1094"/>
                <a:gd name="T88" fmla="*/ 990 w 1095"/>
                <a:gd name="T89" fmla="*/ 66 h 1094"/>
                <a:gd name="T90" fmla="*/ 995 w 1095"/>
                <a:gd name="T91" fmla="*/ 71 h 1094"/>
                <a:gd name="T92" fmla="*/ 1010 w 1095"/>
                <a:gd name="T93" fmla="*/ 84 h 1094"/>
                <a:gd name="T94" fmla="*/ 1015 w 1095"/>
                <a:gd name="T95" fmla="*/ 89 h 1094"/>
                <a:gd name="T96" fmla="*/ 1028 w 1095"/>
                <a:gd name="T97" fmla="*/ 104 h 1094"/>
                <a:gd name="T98" fmla="*/ 1036 w 1095"/>
                <a:gd name="T99" fmla="*/ 114 h 1094"/>
                <a:gd name="T100" fmla="*/ 1043 w 1095"/>
                <a:gd name="T101" fmla="*/ 125 h 1094"/>
                <a:gd name="T102" fmla="*/ 1053 w 1095"/>
                <a:gd name="T103" fmla="*/ 141 h 1094"/>
                <a:gd name="T104" fmla="*/ 1052 w 1095"/>
                <a:gd name="T105" fmla="*/ 388 h 1094"/>
                <a:gd name="T106" fmla="*/ 1049 w 1095"/>
                <a:gd name="T107" fmla="*/ 393 h 1094"/>
                <a:gd name="T108" fmla="*/ 1042 w 1095"/>
                <a:gd name="T109" fmla="*/ 404 h 1094"/>
                <a:gd name="T110" fmla="*/ 1039 w 1095"/>
                <a:gd name="T111" fmla="*/ 409 h 1094"/>
                <a:gd name="T112" fmla="*/ 1031 w 1095"/>
                <a:gd name="T113" fmla="*/ 419 h 1094"/>
                <a:gd name="T114" fmla="*/ 1027 w 1095"/>
                <a:gd name="T115" fmla="*/ 424 h 1094"/>
                <a:gd name="T116" fmla="*/ 1019 w 1095"/>
                <a:gd name="T117" fmla="*/ 434 h 1094"/>
                <a:gd name="T118" fmla="*/ 1015 w 1095"/>
                <a:gd name="T119" fmla="*/ 439 h 1094"/>
                <a:gd name="T120" fmla="*/ 1010 w 1095"/>
                <a:gd name="T121" fmla="*/ 443 h 1094"/>
                <a:gd name="T122" fmla="*/ 999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65"/>
                    <a:pt x="691" y="592"/>
                    <a:pt x="642" y="639"/>
                  </a:cubicBezTo>
                  <a:cubicBezTo>
                    <a:pt x="593" y="689"/>
                    <a:pt x="566" y="736"/>
                    <a:pt x="547" y="781"/>
                  </a:cubicBezTo>
                  <a:cubicBezTo>
                    <a:pt x="518" y="860"/>
                    <a:pt x="514" y="932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49" y="1004"/>
                    <a:pt x="449" y="1004"/>
                    <a:pt x="449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2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7" y="1016"/>
                    <a:pt x="436" y="1017"/>
                    <a:pt x="434" y="1019"/>
                  </a:cubicBezTo>
                  <a:cubicBezTo>
                    <a:pt x="434" y="1019"/>
                    <a:pt x="434" y="1019"/>
                    <a:pt x="434" y="1019"/>
                  </a:cubicBezTo>
                  <a:cubicBezTo>
                    <a:pt x="433" y="1020"/>
                    <a:pt x="431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6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1" y="1029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8" y="1032"/>
                    <a:pt x="416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3" y="1036"/>
                    <a:pt x="411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6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399" y="1045"/>
                  </a:cubicBezTo>
                  <a:cubicBezTo>
                    <a:pt x="399" y="1045"/>
                    <a:pt x="399" y="1045"/>
                    <a:pt x="399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2" y="1049"/>
                    <a:pt x="390" y="1050"/>
                    <a:pt x="389" y="1051"/>
                  </a:cubicBezTo>
                  <a:cubicBezTo>
                    <a:pt x="389" y="1051"/>
                    <a:pt x="389" y="1051"/>
                    <a:pt x="389" y="1051"/>
                  </a:cubicBezTo>
                  <a:cubicBezTo>
                    <a:pt x="385" y="1054"/>
                    <a:pt x="381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4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5" y="1043"/>
                  </a:cubicBezTo>
                  <a:cubicBezTo>
                    <a:pt x="125" y="1043"/>
                    <a:pt x="125" y="1043"/>
                    <a:pt x="125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8" y="1038"/>
                    <a:pt x="116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1" y="1033"/>
                    <a:pt x="108" y="1030"/>
                    <a:pt x="104" y="1027"/>
                  </a:cubicBezTo>
                  <a:cubicBezTo>
                    <a:pt x="104" y="1027"/>
                    <a:pt x="104" y="1027"/>
                    <a:pt x="104" y="1027"/>
                  </a:cubicBezTo>
                  <a:cubicBezTo>
                    <a:pt x="103" y="1026"/>
                    <a:pt x="101" y="1025"/>
                    <a:pt x="99" y="1023"/>
                  </a:cubicBezTo>
                  <a:cubicBezTo>
                    <a:pt x="99" y="1023"/>
                    <a:pt x="99" y="1023"/>
                    <a:pt x="99" y="1023"/>
                  </a:cubicBezTo>
                  <a:cubicBezTo>
                    <a:pt x="96" y="1020"/>
                    <a:pt x="93" y="1017"/>
                    <a:pt x="89" y="1014"/>
                  </a:cubicBezTo>
                  <a:cubicBezTo>
                    <a:pt x="89" y="1014"/>
                    <a:pt x="89" y="1014"/>
                    <a:pt x="89" y="1014"/>
                  </a:cubicBezTo>
                  <a:cubicBezTo>
                    <a:pt x="88" y="1013"/>
                    <a:pt x="86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1" y="1006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8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1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6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49" y="695"/>
                  </a:cubicBezTo>
                  <a:cubicBezTo>
                    <a:pt x="49" y="695"/>
                    <a:pt x="49" y="695"/>
                    <a:pt x="49" y="695"/>
                  </a:cubicBezTo>
                  <a:cubicBezTo>
                    <a:pt x="50" y="693"/>
                    <a:pt x="51" y="691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7" y="683"/>
                    <a:pt x="59" y="681"/>
                    <a:pt x="60" y="679"/>
                  </a:cubicBezTo>
                  <a:cubicBezTo>
                    <a:pt x="60" y="679"/>
                    <a:pt x="60" y="679"/>
                    <a:pt x="60" y="679"/>
                  </a:cubicBezTo>
                  <a:cubicBezTo>
                    <a:pt x="61" y="678"/>
                    <a:pt x="62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6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0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4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7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6" y="650"/>
                    <a:pt x="86" y="650"/>
                    <a:pt x="86" y="650"/>
                  </a:cubicBezTo>
                  <a:cubicBezTo>
                    <a:pt x="86" y="649"/>
                    <a:pt x="87" y="648"/>
                    <a:pt x="87" y="648"/>
                  </a:cubicBezTo>
                  <a:cubicBezTo>
                    <a:pt x="88" y="647"/>
                    <a:pt x="89" y="646"/>
                    <a:pt x="90" y="646"/>
                  </a:cubicBezTo>
                  <a:cubicBezTo>
                    <a:pt x="90" y="646"/>
                    <a:pt x="90" y="646"/>
                    <a:pt x="90" y="646"/>
                  </a:cubicBezTo>
                  <a:cubicBezTo>
                    <a:pt x="158" y="581"/>
                    <a:pt x="233" y="578"/>
                    <a:pt x="313" y="547"/>
                  </a:cubicBezTo>
                  <a:cubicBezTo>
                    <a:pt x="358" y="529"/>
                    <a:pt x="405" y="502"/>
                    <a:pt x="455" y="453"/>
                  </a:cubicBezTo>
                  <a:cubicBezTo>
                    <a:pt x="502" y="404"/>
                    <a:pt x="529" y="358"/>
                    <a:pt x="547" y="314"/>
                  </a:cubicBezTo>
                  <a:cubicBezTo>
                    <a:pt x="577" y="235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5" y="90"/>
                    <a:pt x="645" y="90"/>
                    <a:pt x="645" y="90"/>
                  </a:cubicBezTo>
                  <a:cubicBezTo>
                    <a:pt x="647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7" y="78"/>
                    <a:pt x="659" y="77"/>
                    <a:pt x="660" y="75"/>
                  </a:cubicBezTo>
                  <a:cubicBezTo>
                    <a:pt x="660" y="75"/>
                    <a:pt x="660" y="75"/>
                    <a:pt x="660" y="75"/>
                  </a:cubicBezTo>
                  <a:cubicBezTo>
                    <a:pt x="662" y="74"/>
                    <a:pt x="664" y="73"/>
                    <a:pt x="665" y="71"/>
                  </a:cubicBezTo>
                  <a:cubicBezTo>
                    <a:pt x="665" y="71"/>
                    <a:pt x="665" y="71"/>
                    <a:pt x="665" y="71"/>
                  </a:cubicBezTo>
                  <a:cubicBezTo>
                    <a:pt x="667" y="70"/>
                    <a:pt x="668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3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8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3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5"/>
                    <a:pt x="689" y="53"/>
                    <a:pt x="690" y="52"/>
                  </a:cubicBezTo>
                  <a:cubicBezTo>
                    <a:pt x="690" y="52"/>
                    <a:pt x="690" y="52"/>
                    <a:pt x="690" y="52"/>
                  </a:cubicBezTo>
                  <a:cubicBezTo>
                    <a:pt x="692" y="51"/>
                    <a:pt x="694" y="50"/>
                    <a:pt x="695" y="49"/>
                  </a:cubicBezTo>
                  <a:cubicBezTo>
                    <a:pt x="695" y="49"/>
                    <a:pt x="695" y="49"/>
                    <a:pt x="695" y="49"/>
                  </a:cubicBezTo>
                  <a:cubicBezTo>
                    <a:pt x="697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4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3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79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4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1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8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0" y="66"/>
                  </a:cubicBezTo>
                  <a:cubicBezTo>
                    <a:pt x="990" y="66"/>
                    <a:pt x="990" y="66"/>
                    <a:pt x="990" y="66"/>
                  </a:cubicBezTo>
                  <a:cubicBezTo>
                    <a:pt x="992" y="68"/>
                    <a:pt x="994" y="69"/>
                    <a:pt x="995" y="71"/>
                  </a:cubicBezTo>
                  <a:cubicBezTo>
                    <a:pt x="995" y="71"/>
                    <a:pt x="995" y="71"/>
                    <a:pt x="995" y="71"/>
                  </a:cubicBezTo>
                  <a:cubicBezTo>
                    <a:pt x="999" y="73"/>
                    <a:pt x="1002" y="76"/>
                    <a:pt x="1005" y="80"/>
                  </a:cubicBezTo>
                  <a:cubicBezTo>
                    <a:pt x="1005" y="80"/>
                    <a:pt x="1005" y="80"/>
                    <a:pt x="1005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3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5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3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7" y="116"/>
                    <a:pt x="1038" y="118"/>
                    <a:pt x="1040" y="120"/>
                  </a:cubicBezTo>
                  <a:cubicBezTo>
                    <a:pt x="1040" y="120"/>
                    <a:pt x="1040" y="120"/>
                    <a:pt x="1040" y="120"/>
                  </a:cubicBezTo>
                  <a:cubicBezTo>
                    <a:pt x="1041" y="121"/>
                    <a:pt x="1042" y="123"/>
                    <a:pt x="1043" y="125"/>
                  </a:cubicBezTo>
                  <a:cubicBezTo>
                    <a:pt x="1043" y="125"/>
                    <a:pt x="1043" y="125"/>
                    <a:pt x="1043" y="125"/>
                  </a:cubicBezTo>
                  <a:cubicBezTo>
                    <a:pt x="1047" y="130"/>
                    <a:pt x="1050" y="136"/>
                    <a:pt x="1053" y="141"/>
                  </a:cubicBezTo>
                  <a:cubicBezTo>
                    <a:pt x="1053" y="141"/>
                    <a:pt x="1053" y="141"/>
                    <a:pt x="1053" y="141"/>
                  </a:cubicBezTo>
                  <a:cubicBezTo>
                    <a:pt x="1094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3"/>
                  </a:cubicBezTo>
                  <a:cubicBezTo>
                    <a:pt x="1049" y="393"/>
                    <a:pt x="1049" y="393"/>
                    <a:pt x="1049" y="393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3" y="402"/>
                    <a:pt x="1042" y="404"/>
                  </a:cubicBezTo>
                  <a:cubicBezTo>
                    <a:pt x="1042" y="404"/>
                    <a:pt x="1042" y="404"/>
                    <a:pt x="1042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7" y="411"/>
                    <a:pt x="1036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7" y="424"/>
                  </a:cubicBezTo>
                  <a:cubicBezTo>
                    <a:pt x="1027" y="424"/>
                    <a:pt x="1027" y="424"/>
                    <a:pt x="1027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0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08" y="445"/>
                    <a:pt x="1006" y="447"/>
                    <a:pt x="1004" y="449"/>
                  </a:cubicBezTo>
                  <a:cubicBezTo>
                    <a:pt x="1004" y="449"/>
                    <a:pt x="1003" y="450"/>
                    <a:pt x="1003" y="450"/>
                  </a:cubicBezTo>
                  <a:cubicBezTo>
                    <a:pt x="1001" y="452"/>
                    <a:pt x="1000" y="453"/>
                    <a:pt x="999" y="454"/>
                  </a:cubicBezTo>
                  <a:cubicBezTo>
                    <a:pt x="932" y="514"/>
                    <a:pt x="859" y="517"/>
                    <a:pt x="780" y="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cs typeface="Arial" panose="020B0604020202020204" pitchFamily="34" charset="0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94C15EF6-B0DC-10E8-4323-ACFCEC8A5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3261801"/>
              <a:ext cx="676308" cy="674708"/>
            </a:xfrm>
            <a:custGeom>
              <a:avLst/>
              <a:gdLst>
                <a:gd name="T0" fmla="*/ 397 w 483"/>
                <a:gd name="T1" fmla="*/ 397 h 483"/>
                <a:gd name="T2" fmla="*/ 86 w 483"/>
                <a:gd name="T3" fmla="*/ 397 h 483"/>
                <a:gd name="T4" fmla="*/ 86 w 483"/>
                <a:gd name="T5" fmla="*/ 86 h 483"/>
                <a:gd name="T6" fmla="*/ 397 w 483"/>
                <a:gd name="T7" fmla="*/ 86 h 483"/>
                <a:gd name="T8" fmla="*/ 397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397"/>
                  </a:move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3" name="Oval 16">
              <a:extLst>
                <a:ext uri="{FF2B5EF4-FFF2-40B4-BE49-F238E27FC236}">
                  <a16:creationId xmlns:a16="http://schemas.microsoft.com/office/drawing/2014/main" id="{46AEB365-A44D-6492-46C7-D27592759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2500755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9D99152B-B923-4D42-4718-68C12D5FC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4350607"/>
              <a:ext cx="1531684" cy="1530085"/>
            </a:xfrm>
            <a:custGeom>
              <a:avLst/>
              <a:gdLst>
                <a:gd name="T0" fmla="*/ 547 w 1095"/>
                <a:gd name="T1" fmla="*/ 313 h 1094"/>
                <a:gd name="T2" fmla="*/ 449 w 1095"/>
                <a:gd name="T3" fmla="*/ 90 h 1094"/>
                <a:gd name="T4" fmla="*/ 444 w 1095"/>
                <a:gd name="T5" fmla="*/ 84 h 1094"/>
                <a:gd name="T6" fmla="*/ 434 w 1095"/>
                <a:gd name="T7" fmla="*/ 75 h 1094"/>
                <a:gd name="T8" fmla="*/ 430 w 1095"/>
                <a:gd name="T9" fmla="*/ 71 h 1094"/>
                <a:gd name="T10" fmla="*/ 420 w 1095"/>
                <a:gd name="T11" fmla="*/ 63 h 1094"/>
                <a:gd name="T12" fmla="*/ 415 w 1095"/>
                <a:gd name="T13" fmla="*/ 59 h 1094"/>
                <a:gd name="T14" fmla="*/ 405 w 1095"/>
                <a:gd name="T15" fmla="*/ 52 h 1094"/>
                <a:gd name="T16" fmla="*/ 399 w 1095"/>
                <a:gd name="T17" fmla="*/ 49 h 1094"/>
                <a:gd name="T18" fmla="*/ 389 w 1095"/>
                <a:gd name="T19" fmla="*/ 42 h 1094"/>
                <a:gd name="T20" fmla="*/ 378 w 1095"/>
                <a:gd name="T21" fmla="*/ 37 h 1094"/>
                <a:gd name="T22" fmla="*/ 125 w 1095"/>
                <a:gd name="T23" fmla="*/ 51 h 1094"/>
                <a:gd name="T24" fmla="*/ 120 w 1095"/>
                <a:gd name="T25" fmla="*/ 55 h 1094"/>
                <a:gd name="T26" fmla="*/ 104 w 1095"/>
                <a:gd name="T27" fmla="*/ 66 h 1094"/>
                <a:gd name="T28" fmla="*/ 99 w 1095"/>
                <a:gd name="T29" fmla="*/ 71 h 1094"/>
                <a:gd name="T30" fmla="*/ 85 w 1095"/>
                <a:gd name="T31" fmla="*/ 84 h 1094"/>
                <a:gd name="T32" fmla="*/ 80 w 1095"/>
                <a:gd name="T33" fmla="*/ 89 h 1094"/>
                <a:gd name="T34" fmla="*/ 67 w 1095"/>
                <a:gd name="T35" fmla="*/ 104 h 1094"/>
                <a:gd name="T36" fmla="*/ 59 w 1095"/>
                <a:gd name="T37" fmla="*/ 114 h 1094"/>
                <a:gd name="T38" fmla="*/ 52 w 1095"/>
                <a:gd name="T39" fmla="*/ 125 h 1094"/>
                <a:gd name="T40" fmla="*/ 42 w 1095"/>
                <a:gd name="T41" fmla="*/ 141 h 1094"/>
                <a:gd name="T42" fmla="*/ 43 w 1095"/>
                <a:gd name="T43" fmla="*/ 388 h 1094"/>
                <a:gd name="T44" fmla="*/ 46 w 1095"/>
                <a:gd name="T45" fmla="*/ 394 h 1094"/>
                <a:gd name="T46" fmla="*/ 53 w 1095"/>
                <a:gd name="T47" fmla="*/ 404 h 1094"/>
                <a:gd name="T48" fmla="*/ 56 w 1095"/>
                <a:gd name="T49" fmla="*/ 409 h 1094"/>
                <a:gd name="T50" fmla="*/ 64 w 1095"/>
                <a:gd name="T51" fmla="*/ 419 h 1094"/>
                <a:gd name="T52" fmla="*/ 68 w 1095"/>
                <a:gd name="T53" fmla="*/ 424 h 1094"/>
                <a:gd name="T54" fmla="*/ 76 w 1095"/>
                <a:gd name="T55" fmla="*/ 434 h 1094"/>
                <a:gd name="T56" fmla="*/ 80 w 1095"/>
                <a:gd name="T57" fmla="*/ 439 h 1094"/>
                <a:gd name="T58" fmla="*/ 86 w 1095"/>
                <a:gd name="T59" fmla="*/ 444 h 1094"/>
                <a:gd name="T60" fmla="*/ 90 w 1095"/>
                <a:gd name="T61" fmla="*/ 448 h 1094"/>
                <a:gd name="T62" fmla="*/ 547 w 1095"/>
                <a:gd name="T63" fmla="*/ 780 h 1094"/>
                <a:gd name="T64" fmla="*/ 645 w 1095"/>
                <a:gd name="T65" fmla="*/ 1004 h 1094"/>
                <a:gd name="T66" fmla="*/ 651 w 1095"/>
                <a:gd name="T67" fmla="*/ 1010 h 1094"/>
                <a:gd name="T68" fmla="*/ 660 w 1095"/>
                <a:gd name="T69" fmla="*/ 1019 h 1094"/>
                <a:gd name="T70" fmla="*/ 665 w 1095"/>
                <a:gd name="T71" fmla="*/ 1023 h 1094"/>
                <a:gd name="T72" fmla="*/ 675 w 1095"/>
                <a:gd name="T73" fmla="*/ 1031 h 1094"/>
                <a:gd name="T74" fmla="*/ 680 w 1095"/>
                <a:gd name="T75" fmla="*/ 1035 h 1094"/>
                <a:gd name="T76" fmla="*/ 690 w 1095"/>
                <a:gd name="T77" fmla="*/ 1042 h 1094"/>
                <a:gd name="T78" fmla="*/ 695 w 1095"/>
                <a:gd name="T79" fmla="*/ 1045 h 1094"/>
                <a:gd name="T80" fmla="*/ 706 w 1095"/>
                <a:gd name="T81" fmla="*/ 1052 h 1094"/>
                <a:gd name="T82" fmla="*/ 717 w 1095"/>
                <a:gd name="T83" fmla="*/ 1057 h 1094"/>
                <a:gd name="T84" fmla="*/ 970 w 1095"/>
                <a:gd name="T85" fmla="*/ 1043 h 1094"/>
                <a:gd name="T86" fmla="*/ 975 w 1095"/>
                <a:gd name="T87" fmla="*/ 1039 h 1094"/>
                <a:gd name="T88" fmla="*/ 990 w 1095"/>
                <a:gd name="T89" fmla="*/ 1028 h 1094"/>
                <a:gd name="T90" fmla="*/ 995 w 1095"/>
                <a:gd name="T91" fmla="*/ 1023 h 1094"/>
                <a:gd name="T92" fmla="*/ 1010 w 1095"/>
                <a:gd name="T93" fmla="*/ 1010 h 1094"/>
                <a:gd name="T94" fmla="*/ 1015 w 1095"/>
                <a:gd name="T95" fmla="*/ 1005 h 1094"/>
                <a:gd name="T96" fmla="*/ 1028 w 1095"/>
                <a:gd name="T97" fmla="*/ 990 h 1094"/>
                <a:gd name="T98" fmla="*/ 1036 w 1095"/>
                <a:gd name="T99" fmla="*/ 980 h 1094"/>
                <a:gd name="T100" fmla="*/ 1043 w 1095"/>
                <a:gd name="T101" fmla="*/ 969 h 1094"/>
                <a:gd name="T102" fmla="*/ 1053 w 1095"/>
                <a:gd name="T103" fmla="*/ 953 h 1094"/>
                <a:gd name="T104" fmla="*/ 1052 w 1095"/>
                <a:gd name="T105" fmla="*/ 706 h 1094"/>
                <a:gd name="T106" fmla="*/ 1049 w 1095"/>
                <a:gd name="T107" fmla="*/ 700 h 1094"/>
                <a:gd name="T108" fmla="*/ 1042 w 1095"/>
                <a:gd name="T109" fmla="*/ 690 h 1094"/>
                <a:gd name="T110" fmla="*/ 1039 w 1095"/>
                <a:gd name="T111" fmla="*/ 685 h 1094"/>
                <a:gd name="T112" fmla="*/ 1031 w 1095"/>
                <a:gd name="T113" fmla="*/ 675 h 1094"/>
                <a:gd name="T114" fmla="*/ 1027 w 1095"/>
                <a:gd name="T115" fmla="*/ 670 h 1094"/>
                <a:gd name="T116" fmla="*/ 1019 w 1095"/>
                <a:gd name="T117" fmla="*/ 660 h 1094"/>
                <a:gd name="T118" fmla="*/ 1015 w 1095"/>
                <a:gd name="T119" fmla="*/ 655 h 1094"/>
                <a:gd name="T120" fmla="*/ 1010 w 1095"/>
                <a:gd name="T121" fmla="*/ 651 h 1094"/>
                <a:gd name="T122" fmla="*/ 999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29"/>
                    <a:pt x="691" y="502"/>
                    <a:pt x="642" y="455"/>
                  </a:cubicBezTo>
                  <a:cubicBezTo>
                    <a:pt x="593" y="405"/>
                    <a:pt x="566" y="358"/>
                    <a:pt x="547" y="313"/>
                  </a:cubicBezTo>
                  <a:cubicBezTo>
                    <a:pt x="518" y="234"/>
                    <a:pt x="514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49" y="90"/>
                    <a:pt x="449" y="90"/>
                    <a:pt x="449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2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7" y="78"/>
                    <a:pt x="436" y="77"/>
                    <a:pt x="434" y="75"/>
                  </a:cubicBezTo>
                  <a:cubicBezTo>
                    <a:pt x="434" y="75"/>
                    <a:pt x="434" y="75"/>
                    <a:pt x="434" y="75"/>
                  </a:cubicBezTo>
                  <a:cubicBezTo>
                    <a:pt x="433" y="74"/>
                    <a:pt x="431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6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1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62"/>
                    <a:pt x="416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3" y="58"/>
                    <a:pt x="411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4"/>
                    <a:pt x="406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399" y="49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2" y="44"/>
                    <a:pt x="390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1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4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8" y="56"/>
                    <a:pt x="116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1" y="61"/>
                    <a:pt x="108" y="64"/>
                    <a:pt x="104" y="6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3" y="68"/>
                    <a:pt x="101" y="69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6" y="73"/>
                    <a:pt x="93" y="76"/>
                    <a:pt x="89" y="80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88" y="81"/>
                    <a:pt x="86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1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8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1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6" y="118"/>
                    <a:pt x="55" y="119"/>
                  </a:cubicBezTo>
                  <a:cubicBezTo>
                    <a:pt x="55" y="119"/>
                    <a:pt x="55" y="119"/>
                    <a:pt x="55" y="119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4"/>
                  </a:cubicBezTo>
                  <a:cubicBezTo>
                    <a:pt x="46" y="394"/>
                    <a:pt x="46" y="394"/>
                    <a:pt x="46" y="394"/>
                  </a:cubicBezTo>
                  <a:cubicBezTo>
                    <a:pt x="47" y="395"/>
                    <a:pt x="48" y="397"/>
                    <a:pt x="49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50" y="401"/>
                    <a:pt x="51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7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2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6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0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4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7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6" y="444"/>
                    <a:pt x="86" y="444"/>
                    <a:pt x="86" y="444"/>
                  </a:cubicBezTo>
                  <a:cubicBezTo>
                    <a:pt x="86" y="445"/>
                    <a:pt x="87" y="445"/>
                    <a:pt x="87" y="446"/>
                  </a:cubicBezTo>
                  <a:cubicBezTo>
                    <a:pt x="88" y="447"/>
                    <a:pt x="89" y="448"/>
                    <a:pt x="90" y="448"/>
                  </a:cubicBezTo>
                  <a:cubicBezTo>
                    <a:pt x="90" y="448"/>
                    <a:pt x="90" y="448"/>
                    <a:pt x="90" y="448"/>
                  </a:cubicBezTo>
                  <a:cubicBezTo>
                    <a:pt x="158" y="513"/>
                    <a:pt x="233" y="516"/>
                    <a:pt x="313" y="547"/>
                  </a:cubicBezTo>
                  <a:cubicBezTo>
                    <a:pt x="358" y="565"/>
                    <a:pt x="405" y="592"/>
                    <a:pt x="455" y="641"/>
                  </a:cubicBezTo>
                  <a:cubicBezTo>
                    <a:pt x="502" y="690"/>
                    <a:pt x="529" y="736"/>
                    <a:pt x="547" y="780"/>
                  </a:cubicBezTo>
                  <a:cubicBezTo>
                    <a:pt x="577" y="859"/>
                    <a:pt x="581" y="931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5" y="1004"/>
                    <a:pt x="645" y="1004"/>
                    <a:pt x="645" y="1004"/>
                  </a:cubicBezTo>
                  <a:cubicBezTo>
                    <a:pt x="647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7" y="1016"/>
                    <a:pt x="659" y="1017"/>
                    <a:pt x="660" y="1019"/>
                  </a:cubicBezTo>
                  <a:cubicBezTo>
                    <a:pt x="660" y="1019"/>
                    <a:pt x="660" y="1019"/>
                    <a:pt x="660" y="1019"/>
                  </a:cubicBezTo>
                  <a:cubicBezTo>
                    <a:pt x="662" y="1020"/>
                    <a:pt x="664" y="1021"/>
                    <a:pt x="665" y="1023"/>
                  </a:cubicBezTo>
                  <a:cubicBezTo>
                    <a:pt x="665" y="1023"/>
                    <a:pt x="665" y="1023"/>
                    <a:pt x="665" y="1023"/>
                  </a:cubicBezTo>
                  <a:cubicBezTo>
                    <a:pt x="667" y="1024"/>
                    <a:pt x="668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3" y="1030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8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3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0" y="1042"/>
                  </a:cubicBezTo>
                  <a:cubicBezTo>
                    <a:pt x="690" y="1042"/>
                    <a:pt x="690" y="1042"/>
                    <a:pt x="690" y="1042"/>
                  </a:cubicBezTo>
                  <a:cubicBezTo>
                    <a:pt x="692" y="1043"/>
                    <a:pt x="694" y="1044"/>
                    <a:pt x="695" y="1045"/>
                  </a:cubicBezTo>
                  <a:cubicBezTo>
                    <a:pt x="695" y="1045"/>
                    <a:pt x="695" y="1045"/>
                    <a:pt x="695" y="1045"/>
                  </a:cubicBezTo>
                  <a:cubicBezTo>
                    <a:pt x="697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50"/>
                    <a:pt x="704" y="1051"/>
                    <a:pt x="706" y="1052"/>
                  </a:cubicBezTo>
                  <a:cubicBezTo>
                    <a:pt x="706" y="1052"/>
                    <a:pt x="706" y="1052"/>
                    <a:pt x="706" y="1052"/>
                  </a:cubicBezTo>
                  <a:cubicBezTo>
                    <a:pt x="710" y="1054"/>
                    <a:pt x="713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79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4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1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8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0" y="1028"/>
                  </a:cubicBezTo>
                  <a:cubicBezTo>
                    <a:pt x="990" y="1027"/>
                    <a:pt x="990" y="1027"/>
                    <a:pt x="990" y="1027"/>
                  </a:cubicBezTo>
                  <a:cubicBezTo>
                    <a:pt x="992" y="1026"/>
                    <a:pt x="994" y="1025"/>
                    <a:pt x="995" y="1023"/>
                  </a:cubicBezTo>
                  <a:cubicBezTo>
                    <a:pt x="995" y="1023"/>
                    <a:pt x="995" y="1023"/>
                    <a:pt x="995" y="1023"/>
                  </a:cubicBezTo>
                  <a:cubicBezTo>
                    <a:pt x="999" y="1020"/>
                    <a:pt x="1002" y="1018"/>
                    <a:pt x="1005" y="1014"/>
                  </a:cubicBezTo>
                  <a:cubicBezTo>
                    <a:pt x="1005" y="1014"/>
                    <a:pt x="1005" y="1014"/>
                    <a:pt x="1005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3" y="1007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5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3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7" y="978"/>
                    <a:pt x="1038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3" y="969"/>
                  </a:cubicBezTo>
                  <a:cubicBezTo>
                    <a:pt x="1043" y="969"/>
                    <a:pt x="1043" y="969"/>
                    <a:pt x="1043" y="969"/>
                  </a:cubicBezTo>
                  <a:cubicBezTo>
                    <a:pt x="1047" y="964"/>
                    <a:pt x="1050" y="958"/>
                    <a:pt x="1053" y="953"/>
                  </a:cubicBezTo>
                  <a:cubicBezTo>
                    <a:pt x="1053" y="953"/>
                    <a:pt x="1053" y="953"/>
                    <a:pt x="1053" y="953"/>
                  </a:cubicBezTo>
                  <a:cubicBezTo>
                    <a:pt x="1094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3" y="692"/>
                    <a:pt x="1042" y="690"/>
                  </a:cubicBezTo>
                  <a:cubicBezTo>
                    <a:pt x="1042" y="690"/>
                    <a:pt x="1042" y="690"/>
                    <a:pt x="1042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7" y="683"/>
                    <a:pt x="1036" y="681"/>
                    <a:pt x="1035" y="680"/>
                  </a:cubicBezTo>
                  <a:cubicBezTo>
                    <a:pt x="1035" y="680"/>
                    <a:pt x="1035" y="680"/>
                    <a:pt x="1035" y="680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7" y="670"/>
                  </a:cubicBezTo>
                  <a:cubicBezTo>
                    <a:pt x="1027" y="670"/>
                    <a:pt x="1027" y="670"/>
                    <a:pt x="1027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0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08" y="649"/>
                    <a:pt x="1006" y="647"/>
                    <a:pt x="1004" y="645"/>
                  </a:cubicBezTo>
                  <a:cubicBezTo>
                    <a:pt x="1004" y="644"/>
                    <a:pt x="1003" y="644"/>
                    <a:pt x="1003" y="643"/>
                  </a:cubicBezTo>
                  <a:cubicBezTo>
                    <a:pt x="1001" y="642"/>
                    <a:pt x="1000" y="641"/>
                    <a:pt x="999" y="640"/>
                  </a:cubicBezTo>
                  <a:cubicBezTo>
                    <a:pt x="932" y="580"/>
                    <a:pt x="859" y="577"/>
                    <a:pt x="780" y="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0687F173-1DBE-726A-B548-3E3C95833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4382584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6" name="Oval 12">
              <a:extLst>
                <a:ext uri="{FF2B5EF4-FFF2-40B4-BE49-F238E27FC236}">
                  <a16:creationId xmlns:a16="http://schemas.microsoft.com/office/drawing/2014/main" id="{26135C74-2104-5A3F-5A72-ADFDCAC87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5202786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87A8BAC3-6EC9-CD53-F277-4AA5EE4DC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2438400"/>
              <a:ext cx="1531684" cy="1531684"/>
            </a:xfrm>
            <a:custGeom>
              <a:avLst/>
              <a:gdLst>
                <a:gd name="T0" fmla="*/ 548 w 1095"/>
                <a:gd name="T1" fmla="*/ 781 h 1094"/>
                <a:gd name="T2" fmla="*/ 646 w 1095"/>
                <a:gd name="T3" fmla="*/ 1004 h 1094"/>
                <a:gd name="T4" fmla="*/ 651 w 1095"/>
                <a:gd name="T5" fmla="*/ 1010 h 1094"/>
                <a:gd name="T6" fmla="*/ 661 w 1095"/>
                <a:gd name="T7" fmla="*/ 1019 h 1094"/>
                <a:gd name="T8" fmla="*/ 666 w 1095"/>
                <a:gd name="T9" fmla="*/ 1023 h 1094"/>
                <a:gd name="T10" fmla="*/ 675 w 1095"/>
                <a:gd name="T11" fmla="*/ 1031 h 1094"/>
                <a:gd name="T12" fmla="*/ 680 w 1095"/>
                <a:gd name="T13" fmla="*/ 1035 h 1094"/>
                <a:gd name="T14" fmla="*/ 691 w 1095"/>
                <a:gd name="T15" fmla="*/ 1042 h 1094"/>
                <a:gd name="T16" fmla="*/ 696 w 1095"/>
                <a:gd name="T17" fmla="*/ 1045 h 1094"/>
                <a:gd name="T18" fmla="*/ 706 w 1095"/>
                <a:gd name="T19" fmla="*/ 1051 h 1094"/>
                <a:gd name="T20" fmla="*/ 717 w 1095"/>
                <a:gd name="T21" fmla="*/ 1057 h 1094"/>
                <a:gd name="T22" fmla="*/ 970 w 1095"/>
                <a:gd name="T23" fmla="*/ 1043 h 1094"/>
                <a:gd name="T24" fmla="*/ 975 w 1095"/>
                <a:gd name="T25" fmla="*/ 1039 h 1094"/>
                <a:gd name="T26" fmla="*/ 991 w 1095"/>
                <a:gd name="T27" fmla="*/ 1027 h 1094"/>
                <a:gd name="T28" fmla="*/ 996 w 1095"/>
                <a:gd name="T29" fmla="*/ 1023 h 1094"/>
                <a:gd name="T30" fmla="*/ 1010 w 1095"/>
                <a:gd name="T31" fmla="*/ 1010 h 1094"/>
                <a:gd name="T32" fmla="*/ 1015 w 1095"/>
                <a:gd name="T33" fmla="*/ 1005 h 1094"/>
                <a:gd name="T34" fmla="*/ 1028 w 1095"/>
                <a:gd name="T35" fmla="*/ 990 h 1094"/>
                <a:gd name="T36" fmla="*/ 1036 w 1095"/>
                <a:gd name="T37" fmla="*/ 980 h 1094"/>
                <a:gd name="T38" fmla="*/ 1044 w 1095"/>
                <a:gd name="T39" fmla="*/ 969 h 1094"/>
                <a:gd name="T40" fmla="*/ 1054 w 1095"/>
                <a:gd name="T41" fmla="*/ 953 h 1094"/>
                <a:gd name="T42" fmla="*/ 1052 w 1095"/>
                <a:gd name="T43" fmla="*/ 706 h 1094"/>
                <a:gd name="T44" fmla="*/ 1049 w 1095"/>
                <a:gd name="T45" fmla="*/ 700 h 1094"/>
                <a:gd name="T46" fmla="*/ 1043 w 1095"/>
                <a:gd name="T47" fmla="*/ 690 h 1094"/>
                <a:gd name="T48" fmla="*/ 1039 w 1095"/>
                <a:gd name="T49" fmla="*/ 685 h 1094"/>
                <a:gd name="T50" fmla="*/ 1031 w 1095"/>
                <a:gd name="T51" fmla="*/ 675 h 1094"/>
                <a:gd name="T52" fmla="*/ 1028 w 1095"/>
                <a:gd name="T53" fmla="*/ 670 h 1094"/>
                <a:gd name="T54" fmla="*/ 1019 w 1095"/>
                <a:gd name="T55" fmla="*/ 660 h 1094"/>
                <a:gd name="T56" fmla="*/ 1015 w 1095"/>
                <a:gd name="T57" fmla="*/ 655 h 1094"/>
                <a:gd name="T58" fmla="*/ 1010 w 1095"/>
                <a:gd name="T59" fmla="*/ 650 h 1094"/>
                <a:gd name="T60" fmla="*/ 1005 w 1095"/>
                <a:gd name="T61" fmla="*/ 646 h 1094"/>
                <a:gd name="T62" fmla="*/ 548 w 1095"/>
                <a:gd name="T63" fmla="*/ 314 h 1094"/>
                <a:gd name="T64" fmla="*/ 450 w 1095"/>
                <a:gd name="T65" fmla="*/ 90 h 1094"/>
                <a:gd name="T66" fmla="*/ 444 w 1095"/>
                <a:gd name="T67" fmla="*/ 84 h 1094"/>
                <a:gd name="T68" fmla="*/ 435 w 1095"/>
                <a:gd name="T69" fmla="*/ 75 h 1094"/>
                <a:gd name="T70" fmla="*/ 430 w 1095"/>
                <a:gd name="T71" fmla="*/ 71 h 1094"/>
                <a:gd name="T72" fmla="*/ 420 w 1095"/>
                <a:gd name="T73" fmla="*/ 63 h 1094"/>
                <a:gd name="T74" fmla="*/ 415 w 1095"/>
                <a:gd name="T75" fmla="*/ 59 h 1094"/>
                <a:gd name="T76" fmla="*/ 405 w 1095"/>
                <a:gd name="T77" fmla="*/ 52 h 1094"/>
                <a:gd name="T78" fmla="*/ 400 w 1095"/>
                <a:gd name="T79" fmla="*/ 49 h 1094"/>
                <a:gd name="T80" fmla="*/ 389 w 1095"/>
                <a:gd name="T81" fmla="*/ 42 h 1094"/>
                <a:gd name="T82" fmla="*/ 378 w 1095"/>
                <a:gd name="T83" fmla="*/ 37 h 1094"/>
                <a:gd name="T84" fmla="*/ 126 w 1095"/>
                <a:gd name="T85" fmla="*/ 51 h 1094"/>
                <a:gd name="T86" fmla="*/ 120 w 1095"/>
                <a:gd name="T87" fmla="*/ 55 h 1094"/>
                <a:gd name="T88" fmla="*/ 105 w 1095"/>
                <a:gd name="T89" fmla="*/ 66 h 1094"/>
                <a:gd name="T90" fmla="*/ 100 w 1095"/>
                <a:gd name="T91" fmla="*/ 71 h 1094"/>
                <a:gd name="T92" fmla="*/ 85 w 1095"/>
                <a:gd name="T93" fmla="*/ 84 h 1094"/>
                <a:gd name="T94" fmla="*/ 80 w 1095"/>
                <a:gd name="T95" fmla="*/ 89 h 1094"/>
                <a:gd name="T96" fmla="*/ 67 w 1095"/>
                <a:gd name="T97" fmla="*/ 104 h 1094"/>
                <a:gd name="T98" fmla="*/ 59 w 1095"/>
                <a:gd name="T99" fmla="*/ 114 h 1094"/>
                <a:gd name="T100" fmla="*/ 52 w 1095"/>
                <a:gd name="T101" fmla="*/ 125 h 1094"/>
                <a:gd name="T102" fmla="*/ 42 w 1095"/>
                <a:gd name="T103" fmla="*/ 141 h 1094"/>
                <a:gd name="T104" fmla="*/ 43 w 1095"/>
                <a:gd name="T105" fmla="*/ 388 h 1094"/>
                <a:gd name="T106" fmla="*/ 46 w 1095"/>
                <a:gd name="T107" fmla="*/ 393 h 1094"/>
                <a:gd name="T108" fmla="*/ 53 w 1095"/>
                <a:gd name="T109" fmla="*/ 404 h 1094"/>
                <a:gd name="T110" fmla="*/ 56 w 1095"/>
                <a:gd name="T111" fmla="*/ 409 h 1094"/>
                <a:gd name="T112" fmla="*/ 64 w 1095"/>
                <a:gd name="T113" fmla="*/ 419 h 1094"/>
                <a:gd name="T114" fmla="*/ 68 w 1095"/>
                <a:gd name="T115" fmla="*/ 424 h 1094"/>
                <a:gd name="T116" fmla="*/ 76 w 1095"/>
                <a:gd name="T117" fmla="*/ 434 h 1094"/>
                <a:gd name="T118" fmla="*/ 80 w 1095"/>
                <a:gd name="T119" fmla="*/ 439 h 1094"/>
                <a:gd name="T120" fmla="*/ 85 w 1095"/>
                <a:gd name="T121" fmla="*/ 443 h 1094"/>
                <a:gd name="T122" fmla="*/ 96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65"/>
                    <a:pt x="404" y="592"/>
                    <a:pt x="453" y="639"/>
                  </a:cubicBezTo>
                  <a:cubicBezTo>
                    <a:pt x="502" y="689"/>
                    <a:pt x="529" y="736"/>
                    <a:pt x="548" y="781"/>
                  </a:cubicBezTo>
                  <a:cubicBezTo>
                    <a:pt x="578" y="860"/>
                    <a:pt x="581" y="932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6" y="1004"/>
                    <a:pt x="646" y="1004"/>
                    <a:pt x="646" y="1004"/>
                  </a:cubicBezTo>
                  <a:cubicBezTo>
                    <a:pt x="648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8" y="1016"/>
                    <a:pt x="659" y="1017"/>
                    <a:pt x="661" y="1019"/>
                  </a:cubicBezTo>
                  <a:cubicBezTo>
                    <a:pt x="661" y="1019"/>
                    <a:pt x="661" y="1019"/>
                    <a:pt x="661" y="1019"/>
                  </a:cubicBezTo>
                  <a:cubicBezTo>
                    <a:pt x="662" y="1020"/>
                    <a:pt x="664" y="1021"/>
                    <a:pt x="666" y="1023"/>
                  </a:cubicBezTo>
                  <a:cubicBezTo>
                    <a:pt x="666" y="1023"/>
                    <a:pt x="666" y="1023"/>
                    <a:pt x="666" y="1023"/>
                  </a:cubicBezTo>
                  <a:cubicBezTo>
                    <a:pt x="667" y="1024"/>
                    <a:pt x="669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4" y="1029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9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4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1" y="1042"/>
                  </a:cubicBezTo>
                  <a:cubicBezTo>
                    <a:pt x="691" y="1042"/>
                    <a:pt x="691" y="1042"/>
                    <a:pt x="691" y="1042"/>
                  </a:cubicBezTo>
                  <a:cubicBezTo>
                    <a:pt x="692" y="1043"/>
                    <a:pt x="694" y="1044"/>
                    <a:pt x="696" y="1045"/>
                  </a:cubicBezTo>
                  <a:cubicBezTo>
                    <a:pt x="696" y="1045"/>
                    <a:pt x="696" y="1045"/>
                    <a:pt x="696" y="1045"/>
                  </a:cubicBezTo>
                  <a:cubicBezTo>
                    <a:pt x="698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49"/>
                    <a:pt x="705" y="1050"/>
                    <a:pt x="706" y="1051"/>
                  </a:cubicBezTo>
                  <a:cubicBezTo>
                    <a:pt x="706" y="1051"/>
                    <a:pt x="706" y="1051"/>
                    <a:pt x="706" y="1051"/>
                  </a:cubicBezTo>
                  <a:cubicBezTo>
                    <a:pt x="710" y="1054"/>
                    <a:pt x="714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80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5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2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9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1" y="1027"/>
                  </a:cubicBezTo>
                  <a:cubicBezTo>
                    <a:pt x="991" y="1027"/>
                    <a:pt x="991" y="1027"/>
                    <a:pt x="991" y="1027"/>
                  </a:cubicBezTo>
                  <a:cubicBezTo>
                    <a:pt x="993" y="1026"/>
                    <a:pt x="994" y="1025"/>
                    <a:pt x="996" y="1023"/>
                  </a:cubicBezTo>
                  <a:cubicBezTo>
                    <a:pt x="996" y="1023"/>
                    <a:pt x="996" y="1023"/>
                    <a:pt x="996" y="1023"/>
                  </a:cubicBezTo>
                  <a:cubicBezTo>
                    <a:pt x="999" y="1020"/>
                    <a:pt x="1002" y="1017"/>
                    <a:pt x="1006" y="1014"/>
                  </a:cubicBezTo>
                  <a:cubicBezTo>
                    <a:pt x="1006" y="1014"/>
                    <a:pt x="1006" y="1014"/>
                    <a:pt x="1006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4" y="1006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6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4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8" y="978"/>
                    <a:pt x="1039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4" y="969"/>
                  </a:cubicBezTo>
                  <a:cubicBezTo>
                    <a:pt x="1044" y="969"/>
                    <a:pt x="1044" y="969"/>
                    <a:pt x="1044" y="969"/>
                  </a:cubicBezTo>
                  <a:cubicBezTo>
                    <a:pt x="1047" y="964"/>
                    <a:pt x="1050" y="958"/>
                    <a:pt x="1054" y="953"/>
                  </a:cubicBezTo>
                  <a:cubicBezTo>
                    <a:pt x="1054" y="953"/>
                    <a:pt x="1054" y="953"/>
                    <a:pt x="1054" y="953"/>
                  </a:cubicBezTo>
                  <a:cubicBezTo>
                    <a:pt x="1095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4" y="691"/>
                    <a:pt x="1043" y="690"/>
                  </a:cubicBezTo>
                  <a:cubicBezTo>
                    <a:pt x="1043" y="690"/>
                    <a:pt x="1043" y="690"/>
                    <a:pt x="1043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8" y="683"/>
                    <a:pt x="1037" y="681"/>
                    <a:pt x="1035" y="679"/>
                  </a:cubicBezTo>
                  <a:cubicBezTo>
                    <a:pt x="1035" y="679"/>
                    <a:pt x="1035" y="679"/>
                    <a:pt x="1035" y="679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8" y="670"/>
                  </a:cubicBezTo>
                  <a:cubicBezTo>
                    <a:pt x="1028" y="670"/>
                    <a:pt x="1028" y="670"/>
                    <a:pt x="1028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1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0"/>
                    <a:pt x="1010" y="650"/>
                    <a:pt x="1010" y="650"/>
                  </a:cubicBezTo>
                  <a:cubicBezTo>
                    <a:pt x="1009" y="649"/>
                    <a:pt x="1008" y="648"/>
                    <a:pt x="1008" y="648"/>
                  </a:cubicBezTo>
                  <a:cubicBezTo>
                    <a:pt x="1007" y="647"/>
                    <a:pt x="1006" y="646"/>
                    <a:pt x="1005" y="646"/>
                  </a:cubicBezTo>
                  <a:cubicBezTo>
                    <a:pt x="1005" y="646"/>
                    <a:pt x="1005" y="646"/>
                    <a:pt x="1005" y="646"/>
                  </a:cubicBezTo>
                  <a:cubicBezTo>
                    <a:pt x="937" y="581"/>
                    <a:pt x="863" y="578"/>
                    <a:pt x="782" y="547"/>
                  </a:cubicBezTo>
                  <a:cubicBezTo>
                    <a:pt x="737" y="529"/>
                    <a:pt x="690" y="502"/>
                    <a:pt x="640" y="453"/>
                  </a:cubicBezTo>
                  <a:cubicBezTo>
                    <a:pt x="593" y="404"/>
                    <a:pt x="566" y="358"/>
                    <a:pt x="548" y="314"/>
                  </a:cubicBezTo>
                  <a:cubicBezTo>
                    <a:pt x="518" y="235"/>
                    <a:pt x="515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50" y="90"/>
                    <a:pt x="450" y="90"/>
                    <a:pt x="450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3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8" y="78"/>
                    <a:pt x="436" y="77"/>
                    <a:pt x="435" y="75"/>
                  </a:cubicBezTo>
                  <a:cubicBezTo>
                    <a:pt x="435" y="75"/>
                    <a:pt x="435" y="75"/>
                    <a:pt x="435" y="75"/>
                  </a:cubicBezTo>
                  <a:cubicBezTo>
                    <a:pt x="433" y="74"/>
                    <a:pt x="432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7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2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9" y="62"/>
                    <a:pt x="417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4" y="58"/>
                    <a:pt x="412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5"/>
                    <a:pt x="407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400" y="49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3" y="44"/>
                    <a:pt x="391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2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5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6" y="51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9" y="56"/>
                    <a:pt x="117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2" y="61"/>
                    <a:pt x="108" y="64"/>
                    <a:pt x="105" y="66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03" y="68"/>
                    <a:pt x="101" y="69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96" y="73"/>
                    <a:pt x="93" y="76"/>
                    <a:pt x="90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88" y="81"/>
                    <a:pt x="87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2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9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2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7" y="118"/>
                    <a:pt x="55" y="120"/>
                  </a:cubicBezTo>
                  <a:cubicBezTo>
                    <a:pt x="55" y="120"/>
                    <a:pt x="55" y="120"/>
                    <a:pt x="55" y="120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3"/>
                  </a:cubicBezTo>
                  <a:cubicBezTo>
                    <a:pt x="46" y="393"/>
                    <a:pt x="46" y="393"/>
                    <a:pt x="46" y="393"/>
                  </a:cubicBezTo>
                  <a:cubicBezTo>
                    <a:pt x="47" y="395"/>
                    <a:pt x="48" y="397"/>
                    <a:pt x="50" y="399"/>
                  </a:cubicBezTo>
                  <a:cubicBezTo>
                    <a:pt x="50" y="399"/>
                    <a:pt x="50" y="399"/>
                    <a:pt x="50" y="399"/>
                  </a:cubicBezTo>
                  <a:cubicBezTo>
                    <a:pt x="51" y="401"/>
                    <a:pt x="52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8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3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7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1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5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8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7" y="445"/>
                    <a:pt x="89" y="447"/>
                    <a:pt x="91" y="449"/>
                  </a:cubicBezTo>
                  <a:cubicBezTo>
                    <a:pt x="91" y="449"/>
                    <a:pt x="92" y="450"/>
                    <a:pt x="92" y="450"/>
                  </a:cubicBezTo>
                  <a:cubicBezTo>
                    <a:pt x="94" y="452"/>
                    <a:pt x="95" y="453"/>
                    <a:pt x="96" y="454"/>
                  </a:cubicBezTo>
                  <a:cubicBezTo>
                    <a:pt x="163" y="514"/>
                    <a:pt x="236" y="517"/>
                    <a:pt x="315" y="54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93F54F5-90BF-DACD-8FD5-5735298E8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2500755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FA48C59-4C67-FA3D-3CE2-FADD263C4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03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346FD44B-51BF-C103-A34A-D99A939F9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4350607"/>
              <a:ext cx="1531684" cy="1530085"/>
            </a:xfrm>
            <a:custGeom>
              <a:avLst/>
              <a:gdLst>
                <a:gd name="T0" fmla="*/ 548 w 1095"/>
                <a:gd name="T1" fmla="*/ 313 h 1094"/>
                <a:gd name="T2" fmla="*/ 646 w 1095"/>
                <a:gd name="T3" fmla="*/ 90 h 1094"/>
                <a:gd name="T4" fmla="*/ 651 w 1095"/>
                <a:gd name="T5" fmla="*/ 84 h 1094"/>
                <a:gd name="T6" fmla="*/ 661 w 1095"/>
                <a:gd name="T7" fmla="*/ 75 h 1094"/>
                <a:gd name="T8" fmla="*/ 666 w 1095"/>
                <a:gd name="T9" fmla="*/ 71 h 1094"/>
                <a:gd name="T10" fmla="*/ 675 w 1095"/>
                <a:gd name="T11" fmla="*/ 63 h 1094"/>
                <a:gd name="T12" fmla="*/ 680 w 1095"/>
                <a:gd name="T13" fmla="*/ 59 h 1094"/>
                <a:gd name="T14" fmla="*/ 691 w 1095"/>
                <a:gd name="T15" fmla="*/ 52 h 1094"/>
                <a:gd name="T16" fmla="*/ 696 w 1095"/>
                <a:gd name="T17" fmla="*/ 49 h 1094"/>
                <a:gd name="T18" fmla="*/ 706 w 1095"/>
                <a:gd name="T19" fmla="*/ 42 h 1094"/>
                <a:gd name="T20" fmla="*/ 717 w 1095"/>
                <a:gd name="T21" fmla="*/ 37 h 1094"/>
                <a:gd name="T22" fmla="*/ 970 w 1095"/>
                <a:gd name="T23" fmla="*/ 51 h 1094"/>
                <a:gd name="T24" fmla="*/ 975 w 1095"/>
                <a:gd name="T25" fmla="*/ 55 h 1094"/>
                <a:gd name="T26" fmla="*/ 991 w 1095"/>
                <a:gd name="T27" fmla="*/ 66 h 1094"/>
                <a:gd name="T28" fmla="*/ 996 w 1095"/>
                <a:gd name="T29" fmla="*/ 71 h 1094"/>
                <a:gd name="T30" fmla="*/ 1010 w 1095"/>
                <a:gd name="T31" fmla="*/ 84 h 1094"/>
                <a:gd name="T32" fmla="*/ 1015 w 1095"/>
                <a:gd name="T33" fmla="*/ 89 h 1094"/>
                <a:gd name="T34" fmla="*/ 1028 w 1095"/>
                <a:gd name="T35" fmla="*/ 104 h 1094"/>
                <a:gd name="T36" fmla="*/ 1036 w 1095"/>
                <a:gd name="T37" fmla="*/ 114 h 1094"/>
                <a:gd name="T38" fmla="*/ 1044 w 1095"/>
                <a:gd name="T39" fmla="*/ 125 h 1094"/>
                <a:gd name="T40" fmla="*/ 1054 w 1095"/>
                <a:gd name="T41" fmla="*/ 141 h 1094"/>
                <a:gd name="T42" fmla="*/ 1052 w 1095"/>
                <a:gd name="T43" fmla="*/ 388 h 1094"/>
                <a:gd name="T44" fmla="*/ 1049 w 1095"/>
                <a:gd name="T45" fmla="*/ 394 h 1094"/>
                <a:gd name="T46" fmla="*/ 1043 w 1095"/>
                <a:gd name="T47" fmla="*/ 404 h 1094"/>
                <a:gd name="T48" fmla="*/ 1039 w 1095"/>
                <a:gd name="T49" fmla="*/ 409 h 1094"/>
                <a:gd name="T50" fmla="*/ 1031 w 1095"/>
                <a:gd name="T51" fmla="*/ 419 h 1094"/>
                <a:gd name="T52" fmla="*/ 1028 w 1095"/>
                <a:gd name="T53" fmla="*/ 424 h 1094"/>
                <a:gd name="T54" fmla="*/ 1019 w 1095"/>
                <a:gd name="T55" fmla="*/ 434 h 1094"/>
                <a:gd name="T56" fmla="*/ 1015 w 1095"/>
                <a:gd name="T57" fmla="*/ 439 h 1094"/>
                <a:gd name="T58" fmla="*/ 1010 w 1095"/>
                <a:gd name="T59" fmla="*/ 444 h 1094"/>
                <a:gd name="T60" fmla="*/ 1005 w 1095"/>
                <a:gd name="T61" fmla="*/ 448 h 1094"/>
                <a:gd name="T62" fmla="*/ 548 w 1095"/>
                <a:gd name="T63" fmla="*/ 780 h 1094"/>
                <a:gd name="T64" fmla="*/ 450 w 1095"/>
                <a:gd name="T65" fmla="*/ 1004 h 1094"/>
                <a:gd name="T66" fmla="*/ 444 w 1095"/>
                <a:gd name="T67" fmla="*/ 1010 h 1094"/>
                <a:gd name="T68" fmla="*/ 435 w 1095"/>
                <a:gd name="T69" fmla="*/ 1019 h 1094"/>
                <a:gd name="T70" fmla="*/ 430 w 1095"/>
                <a:gd name="T71" fmla="*/ 1023 h 1094"/>
                <a:gd name="T72" fmla="*/ 420 w 1095"/>
                <a:gd name="T73" fmla="*/ 1031 h 1094"/>
                <a:gd name="T74" fmla="*/ 415 w 1095"/>
                <a:gd name="T75" fmla="*/ 1035 h 1094"/>
                <a:gd name="T76" fmla="*/ 405 w 1095"/>
                <a:gd name="T77" fmla="*/ 1042 h 1094"/>
                <a:gd name="T78" fmla="*/ 400 w 1095"/>
                <a:gd name="T79" fmla="*/ 1045 h 1094"/>
                <a:gd name="T80" fmla="*/ 389 w 1095"/>
                <a:gd name="T81" fmla="*/ 1052 h 1094"/>
                <a:gd name="T82" fmla="*/ 378 w 1095"/>
                <a:gd name="T83" fmla="*/ 1057 h 1094"/>
                <a:gd name="T84" fmla="*/ 126 w 1095"/>
                <a:gd name="T85" fmla="*/ 1043 h 1094"/>
                <a:gd name="T86" fmla="*/ 120 w 1095"/>
                <a:gd name="T87" fmla="*/ 1039 h 1094"/>
                <a:gd name="T88" fmla="*/ 105 w 1095"/>
                <a:gd name="T89" fmla="*/ 1028 h 1094"/>
                <a:gd name="T90" fmla="*/ 100 w 1095"/>
                <a:gd name="T91" fmla="*/ 1023 h 1094"/>
                <a:gd name="T92" fmla="*/ 85 w 1095"/>
                <a:gd name="T93" fmla="*/ 1010 h 1094"/>
                <a:gd name="T94" fmla="*/ 80 w 1095"/>
                <a:gd name="T95" fmla="*/ 1005 h 1094"/>
                <a:gd name="T96" fmla="*/ 67 w 1095"/>
                <a:gd name="T97" fmla="*/ 990 h 1094"/>
                <a:gd name="T98" fmla="*/ 59 w 1095"/>
                <a:gd name="T99" fmla="*/ 980 h 1094"/>
                <a:gd name="T100" fmla="*/ 52 w 1095"/>
                <a:gd name="T101" fmla="*/ 969 h 1094"/>
                <a:gd name="T102" fmla="*/ 42 w 1095"/>
                <a:gd name="T103" fmla="*/ 953 h 1094"/>
                <a:gd name="T104" fmla="*/ 43 w 1095"/>
                <a:gd name="T105" fmla="*/ 706 h 1094"/>
                <a:gd name="T106" fmla="*/ 46 w 1095"/>
                <a:gd name="T107" fmla="*/ 700 h 1094"/>
                <a:gd name="T108" fmla="*/ 53 w 1095"/>
                <a:gd name="T109" fmla="*/ 690 h 1094"/>
                <a:gd name="T110" fmla="*/ 56 w 1095"/>
                <a:gd name="T111" fmla="*/ 685 h 1094"/>
                <a:gd name="T112" fmla="*/ 64 w 1095"/>
                <a:gd name="T113" fmla="*/ 675 h 1094"/>
                <a:gd name="T114" fmla="*/ 68 w 1095"/>
                <a:gd name="T115" fmla="*/ 670 h 1094"/>
                <a:gd name="T116" fmla="*/ 76 w 1095"/>
                <a:gd name="T117" fmla="*/ 660 h 1094"/>
                <a:gd name="T118" fmla="*/ 80 w 1095"/>
                <a:gd name="T119" fmla="*/ 655 h 1094"/>
                <a:gd name="T120" fmla="*/ 85 w 1095"/>
                <a:gd name="T121" fmla="*/ 651 h 1094"/>
                <a:gd name="T122" fmla="*/ 96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29"/>
                    <a:pt x="404" y="502"/>
                    <a:pt x="453" y="455"/>
                  </a:cubicBezTo>
                  <a:cubicBezTo>
                    <a:pt x="502" y="405"/>
                    <a:pt x="529" y="358"/>
                    <a:pt x="548" y="313"/>
                  </a:cubicBezTo>
                  <a:cubicBezTo>
                    <a:pt x="578" y="234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6" y="90"/>
                    <a:pt x="646" y="90"/>
                    <a:pt x="646" y="90"/>
                  </a:cubicBezTo>
                  <a:cubicBezTo>
                    <a:pt x="648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8" y="78"/>
                    <a:pt x="659" y="77"/>
                    <a:pt x="661" y="75"/>
                  </a:cubicBezTo>
                  <a:cubicBezTo>
                    <a:pt x="661" y="75"/>
                    <a:pt x="661" y="75"/>
                    <a:pt x="661" y="75"/>
                  </a:cubicBezTo>
                  <a:cubicBezTo>
                    <a:pt x="662" y="74"/>
                    <a:pt x="664" y="73"/>
                    <a:pt x="666" y="71"/>
                  </a:cubicBezTo>
                  <a:cubicBezTo>
                    <a:pt x="666" y="71"/>
                    <a:pt x="666" y="71"/>
                    <a:pt x="666" y="71"/>
                  </a:cubicBezTo>
                  <a:cubicBezTo>
                    <a:pt x="667" y="70"/>
                    <a:pt x="669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4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9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4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4"/>
                    <a:pt x="689" y="53"/>
                    <a:pt x="691" y="52"/>
                  </a:cubicBezTo>
                  <a:cubicBezTo>
                    <a:pt x="691" y="52"/>
                    <a:pt x="691" y="52"/>
                    <a:pt x="691" y="52"/>
                  </a:cubicBezTo>
                  <a:cubicBezTo>
                    <a:pt x="692" y="51"/>
                    <a:pt x="694" y="50"/>
                    <a:pt x="696" y="49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8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5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4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80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5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2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9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1" y="66"/>
                  </a:cubicBezTo>
                  <a:cubicBezTo>
                    <a:pt x="991" y="66"/>
                    <a:pt x="991" y="66"/>
                    <a:pt x="991" y="66"/>
                  </a:cubicBezTo>
                  <a:cubicBezTo>
                    <a:pt x="993" y="68"/>
                    <a:pt x="994" y="69"/>
                    <a:pt x="996" y="71"/>
                  </a:cubicBezTo>
                  <a:cubicBezTo>
                    <a:pt x="996" y="71"/>
                    <a:pt x="996" y="71"/>
                    <a:pt x="996" y="71"/>
                  </a:cubicBezTo>
                  <a:cubicBezTo>
                    <a:pt x="999" y="73"/>
                    <a:pt x="1002" y="76"/>
                    <a:pt x="1006" y="80"/>
                  </a:cubicBezTo>
                  <a:cubicBezTo>
                    <a:pt x="1006" y="80"/>
                    <a:pt x="1006" y="80"/>
                    <a:pt x="1006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4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6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4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8" y="116"/>
                    <a:pt x="1039" y="118"/>
                    <a:pt x="1040" y="119"/>
                  </a:cubicBezTo>
                  <a:cubicBezTo>
                    <a:pt x="1040" y="119"/>
                    <a:pt x="1040" y="119"/>
                    <a:pt x="1040" y="119"/>
                  </a:cubicBezTo>
                  <a:cubicBezTo>
                    <a:pt x="1041" y="121"/>
                    <a:pt x="1042" y="123"/>
                    <a:pt x="1044" y="125"/>
                  </a:cubicBezTo>
                  <a:cubicBezTo>
                    <a:pt x="1044" y="125"/>
                    <a:pt x="1044" y="125"/>
                    <a:pt x="1044" y="125"/>
                  </a:cubicBezTo>
                  <a:cubicBezTo>
                    <a:pt x="1047" y="130"/>
                    <a:pt x="1050" y="136"/>
                    <a:pt x="1054" y="141"/>
                  </a:cubicBezTo>
                  <a:cubicBezTo>
                    <a:pt x="1054" y="141"/>
                    <a:pt x="1054" y="141"/>
                    <a:pt x="1054" y="141"/>
                  </a:cubicBezTo>
                  <a:cubicBezTo>
                    <a:pt x="1095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4"/>
                  </a:cubicBezTo>
                  <a:cubicBezTo>
                    <a:pt x="1049" y="394"/>
                    <a:pt x="1049" y="394"/>
                    <a:pt x="1049" y="394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4" y="402"/>
                    <a:pt x="1043" y="404"/>
                  </a:cubicBezTo>
                  <a:cubicBezTo>
                    <a:pt x="1043" y="404"/>
                    <a:pt x="1043" y="404"/>
                    <a:pt x="1043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8" y="411"/>
                    <a:pt x="1037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8" y="424"/>
                  </a:cubicBezTo>
                  <a:cubicBezTo>
                    <a:pt x="1028" y="424"/>
                    <a:pt x="1028" y="424"/>
                    <a:pt x="1028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1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4"/>
                    <a:pt x="1010" y="444"/>
                    <a:pt x="1010" y="444"/>
                  </a:cubicBezTo>
                  <a:cubicBezTo>
                    <a:pt x="1009" y="445"/>
                    <a:pt x="1008" y="445"/>
                    <a:pt x="1008" y="446"/>
                  </a:cubicBezTo>
                  <a:cubicBezTo>
                    <a:pt x="1007" y="447"/>
                    <a:pt x="1006" y="448"/>
                    <a:pt x="1005" y="448"/>
                  </a:cubicBezTo>
                  <a:cubicBezTo>
                    <a:pt x="1005" y="448"/>
                    <a:pt x="1005" y="448"/>
                    <a:pt x="1005" y="448"/>
                  </a:cubicBezTo>
                  <a:cubicBezTo>
                    <a:pt x="937" y="513"/>
                    <a:pt x="863" y="516"/>
                    <a:pt x="782" y="547"/>
                  </a:cubicBezTo>
                  <a:cubicBezTo>
                    <a:pt x="737" y="565"/>
                    <a:pt x="690" y="592"/>
                    <a:pt x="640" y="641"/>
                  </a:cubicBezTo>
                  <a:cubicBezTo>
                    <a:pt x="593" y="690"/>
                    <a:pt x="566" y="736"/>
                    <a:pt x="548" y="780"/>
                  </a:cubicBezTo>
                  <a:cubicBezTo>
                    <a:pt x="518" y="859"/>
                    <a:pt x="515" y="931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50" y="1004"/>
                    <a:pt x="450" y="1004"/>
                    <a:pt x="450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3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8" y="1016"/>
                    <a:pt x="436" y="1017"/>
                    <a:pt x="435" y="1019"/>
                  </a:cubicBezTo>
                  <a:cubicBezTo>
                    <a:pt x="435" y="1019"/>
                    <a:pt x="435" y="1019"/>
                    <a:pt x="435" y="1019"/>
                  </a:cubicBezTo>
                  <a:cubicBezTo>
                    <a:pt x="433" y="1020"/>
                    <a:pt x="432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7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2" y="1030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9" y="1032"/>
                    <a:pt x="417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4" y="1036"/>
                    <a:pt x="412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7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400" y="1045"/>
                  </a:cubicBezTo>
                  <a:cubicBezTo>
                    <a:pt x="400" y="1045"/>
                    <a:pt x="400" y="1045"/>
                    <a:pt x="400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3" y="1050"/>
                    <a:pt x="391" y="1051"/>
                    <a:pt x="389" y="1052"/>
                  </a:cubicBezTo>
                  <a:cubicBezTo>
                    <a:pt x="389" y="1052"/>
                    <a:pt x="389" y="1052"/>
                    <a:pt x="389" y="1052"/>
                  </a:cubicBezTo>
                  <a:cubicBezTo>
                    <a:pt x="385" y="1054"/>
                    <a:pt x="382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5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6" y="1043"/>
                  </a:cubicBezTo>
                  <a:cubicBezTo>
                    <a:pt x="126" y="1043"/>
                    <a:pt x="126" y="1043"/>
                    <a:pt x="126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9" y="1038"/>
                    <a:pt x="117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2" y="1033"/>
                    <a:pt x="108" y="1030"/>
                    <a:pt x="105" y="1028"/>
                  </a:cubicBezTo>
                  <a:cubicBezTo>
                    <a:pt x="105" y="1027"/>
                    <a:pt x="105" y="1027"/>
                    <a:pt x="105" y="1027"/>
                  </a:cubicBezTo>
                  <a:cubicBezTo>
                    <a:pt x="103" y="1026"/>
                    <a:pt x="101" y="1025"/>
                    <a:pt x="100" y="1023"/>
                  </a:cubicBezTo>
                  <a:cubicBezTo>
                    <a:pt x="100" y="1023"/>
                    <a:pt x="100" y="1023"/>
                    <a:pt x="100" y="1023"/>
                  </a:cubicBezTo>
                  <a:cubicBezTo>
                    <a:pt x="96" y="1020"/>
                    <a:pt x="93" y="1018"/>
                    <a:pt x="90" y="1014"/>
                  </a:cubicBezTo>
                  <a:cubicBezTo>
                    <a:pt x="90" y="1014"/>
                    <a:pt x="90" y="1014"/>
                    <a:pt x="90" y="1014"/>
                  </a:cubicBezTo>
                  <a:cubicBezTo>
                    <a:pt x="88" y="1013"/>
                    <a:pt x="87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2" y="1007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9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2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7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50" y="695"/>
                  </a:cubicBezTo>
                  <a:cubicBezTo>
                    <a:pt x="50" y="695"/>
                    <a:pt x="50" y="695"/>
                    <a:pt x="50" y="695"/>
                  </a:cubicBezTo>
                  <a:cubicBezTo>
                    <a:pt x="51" y="693"/>
                    <a:pt x="52" y="692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8" y="683"/>
                    <a:pt x="59" y="681"/>
                    <a:pt x="60" y="680"/>
                  </a:cubicBezTo>
                  <a:cubicBezTo>
                    <a:pt x="60" y="680"/>
                    <a:pt x="60" y="680"/>
                    <a:pt x="60" y="680"/>
                  </a:cubicBezTo>
                  <a:cubicBezTo>
                    <a:pt x="61" y="678"/>
                    <a:pt x="63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7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1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5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8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7" y="649"/>
                    <a:pt x="89" y="647"/>
                    <a:pt x="91" y="645"/>
                  </a:cubicBezTo>
                  <a:cubicBezTo>
                    <a:pt x="91" y="644"/>
                    <a:pt x="92" y="644"/>
                    <a:pt x="92" y="643"/>
                  </a:cubicBezTo>
                  <a:cubicBezTo>
                    <a:pt x="94" y="642"/>
                    <a:pt x="95" y="641"/>
                    <a:pt x="96" y="640"/>
                  </a:cubicBezTo>
                  <a:cubicBezTo>
                    <a:pt x="163" y="580"/>
                    <a:pt x="236" y="577"/>
                    <a:pt x="315" y="54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D78AC7-9BC4-302B-278E-1346F7C53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5202786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C5D207C8-376A-D617-470A-250215D0E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05F5DBB-F48F-5F5F-557D-D106672547E5}"/>
              </a:ext>
            </a:extLst>
          </p:cNvPr>
          <p:cNvSpPr txBox="1"/>
          <p:nvPr/>
        </p:nvSpPr>
        <p:spPr>
          <a:xfrm>
            <a:off x="8165929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185F35-4F76-8B3C-7838-0A9927A638CE}"/>
              </a:ext>
            </a:extLst>
          </p:cNvPr>
          <p:cNvSpPr txBox="1"/>
          <p:nvPr/>
        </p:nvSpPr>
        <p:spPr>
          <a:xfrm>
            <a:off x="8165929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350910-9980-A56C-EFBD-5B751E958CE4}"/>
              </a:ext>
            </a:extLst>
          </p:cNvPr>
          <p:cNvSpPr txBox="1"/>
          <p:nvPr/>
        </p:nvSpPr>
        <p:spPr>
          <a:xfrm>
            <a:off x="8556646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AC854-C999-436A-BB6C-AC77D592FEE8}"/>
              </a:ext>
            </a:extLst>
          </p:cNvPr>
          <p:cNvSpPr txBox="1"/>
          <p:nvPr/>
        </p:nvSpPr>
        <p:spPr>
          <a:xfrm>
            <a:off x="8556646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277E4E-B86E-BD7B-8483-9342FA2A8207}"/>
              </a:ext>
            </a:extLst>
          </p:cNvPr>
          <p:cNvSpPr txBox="1"/>
          <p:nvPr/>
        </p:nvSpPr>
        <p:spPr>
          <a:xfrm>
            <a:off x="881255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E4C3-75C5-0A55-2A4F-936063F9813A}"/>
              </a:ext>
            </a:extLst>
          </p:cNvPr>
          <p:cNvSpPr txBox="1"/>
          <p:nvPr/>
        </p:nvSpPr>
        <p:spPr>
          <a:xfrm>
            <a:off x="881255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79BAA5-E808-ED9A-53A4-6344123483FD}"/>
              </a:ext>
            </a:extLst>
          </p:cNvPr>
          <p:cNvSpPr txBox="1"/>
          <p:nvPr/>
        </p:nvSpPr>
        <p:spPr>
          <a:xfrm>
            <a:off x="510239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A60FE7-CA6A-83BE-54B4-7DC5CBBBAD99}"/>
              </a:ext>
            </a:extLst>
          </p:cNvPr>
          <p:cNvSpPr txBox="1"/>
          <p:nvPr/>
        </p:nvSpPr>
        <p:spPr>
          <a:xfrm>
            <a:off x="510239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5B5683-0A82-40EC-6AAE-B17937A7AC78}"/>
              </a:ext>
            </a:extLst>
          </p:cNvPr>
          <p:cNvSpPr txBox="1">
            <a:spLocks/>
          </p:cNvSpPr>
          <p:nvPr/>
        </p:nvSpPr>
        <p:spPr>
          <a:xfrm>
            <a:off x="4775355" y="3679381"/>
            <a:ext cx="2640413" cy="836201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latin typeface="+mn-lt"/>
                <a:cs typeface="Arial" panose="020B0604020202020204" pitchFamily="34" charset="0"/>
              </a:rPr>
              <a:t>HEADING</a:t>
            </a:r>
            <a:endParaRPr lang="en-IN" sz="1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83232437-2649-A81A-5A1D-8186436751E6}"/>
              </a:ext>
            </a:extLst>
          </p:cNvPr>
          <p:cNvSpPr/>
          <p:nvPr/>
        </p:nvSpPr>
        <p:spPr>
          <a:xfrm>
            <a:off x="645426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EEC2B731-8B51-D5DD-DED9-CC634E9A6FEA}"/>
              </a:ext>
            </a:extLst>
          </p:cNvPr>
          <p:cNvSpPr/>
          <p:nvPr/>
        </p:nvSpPr>
        <p:spPr>
          <a:xfrm>
            <a:off x="534174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A7E55FC9-C9F6-40E5-BACA-07F9FA25A937}"/>
              </a:ext>
            </a:extLst>
          </p:cNvPr>
          <p:cNvSpPr/>
          <p:nvPr/>
        </p:nvSpPr>
        <p:spPr>
          <a:xfrm>
            <a:off x="4526400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710A153D-DDD4-F7A5-2AE8-6AE138583A40}"/>
              </a:ext>
            </a:extLst>
          </p:cNvPr>
          <p:cNvSpPr/>
          <p:nvPr/>
        </p:nvSpPr>
        <p:spPr>
          <a:xfrm>
            <a:off x="7251998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89836608-D782-2816-899A-2A71E03D5CA4}"/>
              </a:ext>
            </a:extLst>
          </p:cNvPr>
          <p:cNvSpPr/>
          <p:nvPr/>
        </p:nvSpPr>
        <p:spPr>
          <a:xfrm>
            <a:off x="4526400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1E84B386-1FCA-C770-2088-85421C90BFE2}"/>
              </a:ext>
            </a:extLst>
          </p:cNvPr>
          <p:cNvSpPr/>
          <p:nvPr/>
        </p:nvSpPr>
        <p:spPr>
          <a:xfrm>
            <a:off x="7251998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0462A057-17DA-0FD7-9A65-60FE6C1C7B3A}"/>
              </a:ext>
            </a:extLst>
          </p:cNvPr>
          <p:cNvSpPr/>
          <p:nvPr/>
        </p:nvSpPr>
        <p:spPr>
          <a:xfrm>
            <a:off x="645426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875D8258-00B5-065A-3C1F-9CF5250F09DE}"/>
              </a:ext>
            </a:extLst>
          </p:cNvPr>
          <p:cNvSpPr/>
          <p:nvPr/>
        </p:nvSpPr>
        <p:spPr>
          <a:xfrm>
            <a:off x="534174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786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171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6</cp:revision>
  <dcterms:created xsi:type="dcterms:W3CDTF">2021-03-31T02:49:57Z</dcterms:created>
  <dcterms:modified xsi:type="dcterms:W3CDTF">2025-10-16T10:57:15Z</dcterms:modified>
  <cp:category/>
</cp:coreProperties>
</file>